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88" r:id="rId4"/>
  </p:sldMasterIdLst>
  <p:notesMasterIdLst>
    <p:notesMasterId r:id="rId27"/>
  </p:notesMasterIdLst>
  <p:handoutMasterIdLst>
    <p:handoutMasterId r:id="rId28"/>
  </p:handoutMasterIdLst>
  <p:sldIdLst>
    <p:sldId id="256" r:id="rId5"/>
    <p:sldId id="2147375213" r:id="rId6"/>
    <p:sldId id="2147375214" r:id="rId7"/>
    <p:sldId id="2147375194" r:id="rId8"/>
    <p:sldId id="257" r:id="rId9"/>
    <p:sldId id="2147375196" r:id="rId10"/>
    <p:sldId id="2147375216" r:id="rId11"/>
    <p:sldId id="2147375220" r:id="rId12"/>
    <p:sldId id="2147375221" r:id="rId13"/>
    <p:sldId id="2147375191" r:id="rId14"/>
    <p:sldId id="2147375222" r:id="rId15"/>
    <p:sldId id="2147375234" r:id="rId16"/>
    <p:sldId id="2147375225" r:id="rId17"/>
    <p:sldId id="2147375235" r:id="rId18"/>
    <p:sldId id="2147375226" r:id="rId19"/>
    <p:sldId id="326" r:id="rId20"/>
    <p:sldId id="2147375192" r:id="rId21"/>
    <p:sldId id="2147375230" r:id="rId22"/>
    <p:sldId id="404" r:id="rId23"/>
    <p:sldId id="2147375236" r:id="rId24"/>
    <p:sldId id="2147375233" r:id="rId25"/>
    <p:sldId id="2147375232" r:id="rId26"/>
  </p:sldIdLst>
  <p:sldSz cx="12192000" cy="6858000"/>
  <p:notesSz cx="6858000" cy="9144000"/>
  <p:embeddedFontLst>
    <p:embeddedFont>
      <p:font typeface="GSK Precision Light" pitchFamily="2" charset="0"/>
      <p:regular r:id="rId29"/>
      <p:italic r:id="rId30"/>
    </p:embeddedFont>
  </p:embeddedFontLst>
  <p:custDataLst>
    <p:tags r:id="rId3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29EF36-EC4D-4EAD-9F6F-BD13F4865B42}" v="462" dt="2025-07-01T16:16:02.395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6" autoAdjust="0"/>
    <p:restoredTop sz="73803" autoAdjust="0"/>
  </p:normalViewPr>
  <p:slideViewPr>
    <p:cSldViewPr snapToGrid="0" showGuides="1">
      <p:cViewPr varScale="1">
        <p:scale>
          <a:sx n="73" d="100"/>
          <a:sy n="73" d="100"/>
        </p:scale>
        <p:origin x="1388" y="2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3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y Nicholls" userId="f3a83628-1c02-41d9-82d2-b3f17fb20586" providerId="ADAL" clId="{9529EF36-EC4D-4EAD-9F6F-BD13F4865B42}"/>
    <pc:docChg chg="undo redo custSel addSld delSld modSld sldOrd">
      <pc:chgData name="Andy Nicholls" userId="f3a83628-1c02-41d9-82d2-b3f17fb20586" providerId="ADAL" clId="{9529EF36-EC4D-4EAD-9F6F-BD13F4865B42}" dt="2025-07-03T08:32:34.834" v="5652" actId="20577"/>
      <pc:docMkLst>
        <pc:docMk/>
      </pc:docMkLst>
      <pc:sldChg chg="addSp delSp modSp mod modNotesTx">
        <pc:chgData name="Andy Nicholls" userId="f3a83628-1c02-41d9-82d2-b3f17fb20586" providerId="ADAL" clId="{9529EF36-EC4D-4EAD-9F6F-BD13F4865B42}" dt="2025-07-03T08:32:34.834" v="5652" actId="20577"/>
        <pc:sldMkLst>
          <pc:docMk/>
          <pc:sldMk cId="1018261985" sldId="256"/>
        </pc:sldMkLst>
        <pc:spChg chg="mod">
          <ac:chgData name="Andy Nicholls" userId="f3a83628-1c02-41d9-82d2-b3f17fb20586" providerId="ADAL" clId="{9529EF36-EC4D-4EAD-9F6F-BD13F4865B42}" dt="2025-06-19T17:12:43.954" v="1577" actId="1035"/>
          <ac:spMkLst>
            <pc:docMk/>
            <pc:sldMk cId="1018261985" sldId="256"/>
            <ac:spMk id="2" creationId="{2ABC14ED-45EE-CBB2-2AD6-A650C1057094}"/>
          </ac:spMkLst>
        </pc:spChg>
        <pc:spChg chg="mod">
          <ac:chgData name="Andy Nicholls" userId="f3a83628-1c02-41d9-82d2-b3f17fb20586" providerId="ADAL" clId="{9529EF36-EC4D-4EAD-9F6F-BD13F4865B42}" dt="2025-06-19T17:12:43.954" v="1577" actId="1035"/>
          <ac:spMkLst>
            <pc:docMk/>
            <pc:sldMk cId="1018261985" sldId="256"/>
            <ac:spMk id="3" creationId="{AB46F39C-F1F5-324F-DD88-E84D9A3C2BDC}"/>
          </ac:spMkLst>
        </pc:spChg>
        <pc:spChg chg="mod">
          <ac:chgData name="Andy Nicholls" userId="f3a83628-1c02-41d9-82d2-b3f17fb20586" providerId="ADAL" clId="{9529EF36-EC4D-4EAD-9F6F-BD13F4865B42}" dt="2025-07-03T08:32:34.834" v="5652" actId="20577"/>
          <ac:spMkLst>
            <pc:docMk/>
            <pc:sldMk cId="1018261985" sldId="256"/>
            <ac:spMk id="4" creationId="{9D46DC68-E073-4834-2872-E5BAC43327FE}"/>
          </ac:spMkLst>
        </pc:spChg>
        <pc:spChg chg="add mod">
          <ac:chgData name="Andy Nicholls" userId="f3a83628-1c02-41d9-82d2-b3f17fb20586" providerId="ADAL" clId="{9529EF36-EC4D-4EAD-9F6F-BD13F4865B42}" dt="2025-07-01T16:16:18.738" v="3272" actId="14100"/>
          <ac:spMkLst>
            <pc:docMk/>
            <pc:sldMk cId="1018261985" sldId="256"/>
            <ac:spMk id="12" creationId="{68752733-E121-3891-1FBC-9945B05F9552}"/>
          </ac:spMkLst>
        </pc:spChg>
        <pc:picChg chg="add mod">
          <ac:chgData name="Andy Nicholls" userId="f3a83628-1c02-41d9-82d2-b3f17fb20586" providerId="ADAL" clId="{9529EF36-EC4D-4EAD-9F6F-BD13F4865B42}" dt="2025-07-01T16:15:53.413" v="3262" actId="14100"/>
          <ac:picMkLst>
            <pc:docMk/>
            <pc:sldMk cId="1018261985" sldId="256"/>
            <ac:picMk id="2050" creationId="{5B6D45CA-A8D9-0F0F-BE3B-0FE55D2AEDFF}"/>
          </ac:picMkLst>
        </pc:picChg>
      </pc:sldChg>
      <pc:sldChg chg="del">
        <pc:chgData name="Andy Nicholls" userId="f3a83628-1c02-41d9-82d2-b3f17fb20586" providerId="ADAL" clId="{9529EF36-EC4D-4EAD-9F6F-BD13F4865B42}" dt="2025-06-18T12:50:02.168" v="6" actId="47"/>
        <pc:sldMkLst>
          <pc:docMk/>
          <pc:sldMk cId="2117341134" sldId="258"/>
        </pc:sldMkLst>
      </pc:sldChg>
      <pc:sldChg chg="addSp delSp modSp del mod ord modShow">
        <pc:chgData name="Andy Nicholls" userId="f3a83628-1c02-41d9-82d2-b3f17fb20586" providerId="ADAL" clId="{9529EF36-EC4D-4EAD-9F6F-BD13F4865B42}" dt="2025-06-27T11:31:36.067" v="2699" actId="47"/>
        <pc:sldMkLst>
          <pc:docMk/>
          <pc:sldMk cId="2385877517" sldId="277"/>
        </pc:sldMkLst>
      </pc:sldChg>
      <pc:sldChg chg="del mod modShow">
        <pc:chgData name="Andy Nicholls" userId="f3a83628-1c02-41d9-82d2-b3f17fb20586" providerId="ADAL" clId="{9529EF36-EC4D-4EAD-9F6F-BD13F4865B42}" dt="2025-06-19T16:23:05.574" v="609" actId="47"/>
        <pc:sldMkLst>
          <pc:docMk/>
          <pc:sldMk cId="3136604713" sldId="300"/>
        </pc:sldMkLst>
      </pc:sldChg>
      <pc:sldChg chg="del">
        <pc:chgData name="Andy Nicholls" userId="f3a83628-1c02-41d9-82d2-b3f17fb20586" providerId="ADAL" clId="{9529EF36-EC4D-4EAD-9F6F-BD13F4865B42}" dt="2025-06-19T16:05:02.082" v="65" actId="47"/>
        <pc:sldMkLst>
          <pc:docMk/>
          <pc:sldMk cId="1650710314" sldId="304"/>
        </pc:sldMkLst>
      </pc:sldChg>
      <pc:sldChg chg="del">
        <pc:chgData name="Andy Nicholls" userId="f3a83628-1c02-41d9-82d2-b3f17fb20586" providerId="ADAL" clId="{9529EF36-EC4D-4EAD-9F6F-BD13F4865B42}" dt="2025-06-19T16:05:02.082" v="65" actId="47"/>
        <pc:sldMkLst>
          <pc:docMk/>
          <pc:sldMk cId="1502337802" sldId="311"/>
        </pc:sldMkLst>
      </pc:sldChg>
      <pc:sldChg chg="del">
        <pc:chgData name="Andy Nicholls" userId="f3a83628-1c02-41d9-82d2-b3f17fb20586" providerId="ADAL" clId="{9529EF36-EC4D-4EAD-9F6F-BD13F4865B42}" dt="2025-06-19T16:05:02.082" v="65" actId="47"/>
        <pc:sldMkLst>
          <pc:docMk/>
          <pc:sldMk cId="1298133085" sldId="312"/>
        </pc:sldMkLst>
      </pc:sldChg>
      <pc:sldChg chg="del">
        <pc:chgData name="Andy Nicholls" userId="f3a83628-1c02-41d9-82d2-b3f17fb20586" providerId="ADAL" clId="{9529EF36-EC4D-4EAD-9F6F-BD13F4865B42}" dt="2025-06-19T16:05:02.082" v="65" actId="47"/>
        <pc:sldMkLst>
          <pc:docMk/>
          <pc:sldMk cId="2308038588" sldId="313"/>
        </pc:sldMkLst>
      </pc:sldChg>
      <pc:sldChg chg="del mod modShow">
        <pc:chgData name="Andy Nicholls" userId="f3a83628-1c02-41d9-82d2-b3f17fb20586" providerId="ADAL" clId="{9529EF36-EC4D-4EAD-9F6F-BD13F4865B42}" dt="2025-06-27T11:46:42.767" v="2720" actId="47"/>
        <pc:sldMkLst>
          <pc:docMk/>
          <pc:sldMk cId="3329380814" sldId="315"/>
        </pc:sldMkLst>
      </pc:sldChg>
      <pc:sldChg chg="del mod modShow">
        <pc:chgData name="Andy Nicholls" userId="f3a83628-1c02-41d9-82d2-b3f17fb20586" providerId="ADAL" clId="{9529EF36-EC4D-4EAD-9F6F-BD13F4865B42}" dt="2025-06-19T16:43:03.449" v="904" actId="47"/>
        <pc:sldMkLst>
          <pc:docMk/>
          <pc:sldMk cId="2100740168" sldId="318"/>
        </pc:sldMkLst>
      </pc:sldChg>
      <pc:sldChg chg="addSp modSp add modAnim modNotesTx">
        <pc:chgData name="Andy Nicholls" userId="f3a83628-1c02-41d9-82d2-b3f17fb20586" providerId="ADAL" clId="{9529EF36-EC4D-4EAD-9F6F-BD13F4865B42}" dt="2025-06-20T14:55:49.582" v="2568" actId="20577"/>
        <pc:sldMkLst>
          <pc:docMk/>
          <pc:sldMk cId="1217336859" sldId="326"/>
        </pc:sldMkLst>
        <pc:spChg chg="add mod">
          <ac:chgData name="Andy Nicholls" userId="f3a83628-1c02-41d9-82d2-b3f17fb20586" providerId="ADAL" clId="{9529EF36-EC4D-4EAD-9F6F-BD13F4865B42}" dt="2025-06-20T14:49:26.906" v="1718"/>
          <ac:spMkLst>
            <pc:docMk/>
            <pc:sldMk cId="1217336859" sldId="326"/>
            <ac:spMk id="11" creationId="{EFEE22B4-7EC3-7B47-5E3D-E923A9B85D61}"/>
          </ac:spMkLst>
        </pc:spChg>
        <pc:spChg chg="add mod">
          <ac:chgData name="Andy Nicholls" userId="f3a83628-1c02-41d9-82d2-b3f17fb20586" providerId="ADAL" clId="{9529EF36-EC4D-4EAD-9F6F-BD13F4865B42}" dt="2025-06-20T14:49:26.906" v="1718"/>
          <ac:spMkLst>
            <pc:docMk/>
            <pc:sldMk cId="1217336859" sldId="326"/>
            <ac:spMk id="15" creationId="{20A02B5C-E483-FDD2-638E-7A0C274CEB32}"/>
          </ac:spMkLst>
        </pc:spChg>
        <pc:spChg chg="add mod">
          <ac:chgData name="Andy Nicholls" userId="f3a83628-1c02-41d9-82d2-b3f17fb20586" providerId="ADAL" clId="{9529EF36-EC4D-4EAD-9F6F-BD13F4865B42}" dt="2025-06-20T14:49:26.906" v="1718"/>
          <ac:spMkLst>
            <pc:docMk/>
            <pc:sldMk cId="1217336859" sldId="326"/>
            <ac:spMk id="22" creationId="{686FD7BC-117F-AE4D-8DF0-46FB6084842D}"/>
          </ac:spMkLst>
        </pc:spChg>
        <pc:spChg chg="add mod">
          <ac:chgData name="Andy Nicholls" userId="f3a83628-1c02-41d9-82d2-b3f17fb20586" providerId="ADAL" clId="{9529EF36-EC4D-4EAD-9F6F-BD13F4865B42}" dt="2025-06-20T14:49:26.906" v="1718"/>
          <ac:spMkLst>
            <pc:docMk/>
            <pc:sldMk cId="1217336859" sldId="326"/>
            <ac:spMk id="23" creationId="{3653932C-C76F-6DDA-287D-0400154659AC}"/>
          </ac:spMkLst>
        </pc:spChg>
        <pc:spChg chg="add mod">
          <ac:chgData name="Andy Nicholls" userId="f3a83628-1c02-41d9-82d2-b3f17fb20586" providerId="ADAL" clId="{9529EF36-EC4D-4EAD-9F6F-BD13F4865B42}" dt="2025-06-20T14:49:26.906" v="1718"/>
          <ac:spMkLst>
            <pc:docMk/>
            <pc:sldMk cId="1217336859" sldId="326"/>
            <ac:spMk id="24" creationId="{6E733FD7-9254-AD81-5E7D-175A3E64B2B0}"/>
          </ac:spMkLst>
        </pc:spChg>
        <pc:spChg chg="add mod">
          <ac:chgData name="Andy Nicholls" userId="f3a83628-1c02-41d9-82d2-b3f17fb20586" providerId="ADAL" clId="{9529EF36-EC4D-4EAD-9F6F-BD13F4865B42}" dt="2025-06-20T14:49:26.906" v="1718"/>
          <ac:spMkLst>
            <pc:docMk/>
            <pc:sldMk cId="1217336859" sldId="326"/>
            <ac:spMk id="27" creationId="{17CEEADD-DB6E-501E-331D-1DE9C64CB761}"/>
          </ac:spMkLst>
        </pc:spChg>
        <pc:spChg chg="add mod">
          <ac:chgData name="Andy Nicholls" userId="f3a83628-1c02-41d9-82d2-b3f17fb20586" providerId="ADAL" clId="{9529EF36-EC4D-4EAD-9F6F-BD13F4865B42}" dt="2025-06-20T14:49:26.906" v="1718"/>
          <ac:spMkLst>
            <pc:docMk/>
            <pc:sldMk cId="1217336859" sldId="326"/>
            <ac:spMk id="28" creationId="{C44FC285-02E6-81AF-F137-75D2F41BEC5A}"/>
          </ac:spMkLst>
        </pc:spChg>
        <pc:picChg chg="add mod">
          <ac:chgData name="Andy Nicholls" userId="f3a83628-1c02-41d9-82d2-b3f17fb20586" providerId="ADAL" clId="{9529EF36-EC4D-4EAD-9F6F-BD13F4865B42}" dt="2025-06-20T14:49:26.906" v="1718"/>
          <ac:picMkLst>
            <pc:docMk/>
            <pc:sldMk cId="1217336859" sldId="326"/>
            <ac:picMk id="14" creationId="{5031D6FB-3563-8538-FFA3-D856BB9D4FE3}"/>
          </ac:picMkLst>
        </pc:picChg>
        <pc:picChg chg="add mod">
          <ac:chgData name="Andy Nicholls" userId="f3a83628-1c02-41d9-82d2-b3f17fb20586" providerId="ADAL" clId="{9529EF36-EC4D-4EAD-9F6F-BD13F4865B42}" dt="2025-06-20T14:49:26.906" v="1718"/>
          <ac:picMkLst>
            <pc:docMk/>
            <pc:sldMk cId="1217336859" sldId="326"/>
            <ac:picMk id="25" creationId="{8D717D74-9811-3D6A-316D-BF40F2C8EC33}"/>
          </ac:picMkLst>
        </pc:picChg>
        <pc:cxnChg chg="add mod">
          <ac:chgData name="Andy Nicholls" userId="f3a83628-1c02-41d9-82d2-b3f17fb20586" providerId="ADAL" clId="{9529EF36-EC4D-4EAD-9F6F-BD13F4865B42}" dt="2025-06-20T14:49:26.906" v="1718"/>
          <ac:cxnSpMkLst>
            <pc:docMk/>
            <pc:sldMk cId="1217336859" sldId="326"/>
            <ac:cxnSpMk id="19" creationId="{E70F2D8D-E0D7-193A-07B4-A7D5CF371CC7}"/>
          </ac:cxnSpMkLst>
        </pc:cxnChg>
      </pc:sldChg>
      <pc:sldChg chg="addSp delSp modSp mod delAnim modAnim modNotesTx">
        <pc:chgData name="Andy Nicholls" userId="f3a83628-1c02-41d9-82d2-b3f17fb20586" providerId="ADAL" clId="{9529EF36-EC4D-4EAD-9F6F-BD13F4865B42}" dt="2025-07-01T16:30:15.607" v="5416" actId="20577"/>
        <pc:sldMkLst>
          <pc:docMk/>
          <pc:sldMk cId="379108964" sldId="404"/>
        </pc:sldMkLst>
        <pc:spChg chg="mod">
          <ac:chgData name="Andy Nicholls" userId="f3a83628-1c02-41d9-82d2-b3f17fb20586" providerId="ADAL" clId="{9529EF36-EC4D-4EAD-9F6F-BD13F4865B42}" dt="2025-06-27T11:32:08.757" v="2705" actId="6549"/>
          <ac:spMkLst>
            <pc:docMk/>
            <pc:sldMk cId="379108964" sldId="404"/>
            <ac:spMk id="5" creationId="{27FE97E7-91A9-51D6-081D-ECE07077A0EE}"/>
          </ac:spMkLst>
        </pc:spChg>
        <pc:spChg chg="mod">
          <ac:chgData name="Andy Nicholls" userId="f3a83628-1c02-41d9-82d2-b3f17fb20586" providerId="ADAL" clId="{9529EF36-EC4D-4EAD-9F6F-BD13F4865B42}" dt="2025-06-19T17:43:57.157" v="1716" actId="20577"/>
          <ac:spMkLst>
            <pc:docMk/>
            <pc:sldMk cId="379108964" sldId="404"/>
            <ac:spMk id="6" creationId="{4582AD59-CB02-C478-F3FB-B0739C586B52}"/>
          </ac:spMkLst>
        </pc:spChg>
        <pc:spChg chg="mod">
          <ac:chgData name="Andy Nicholls" userId="f3a83628-1c02-41d9-82d2-b3f17fb20586" providerId="ADAL" clId="{9529EF36-EC4D-4EAD-9F6F-BD13F4865B42}" dt="2025-06-19T17:43:38.642" v="1702" actId="6549"/>
          <ac:spMkLst>
            <pc:docMk/>
            <pc:sldMk cId="379108964" sldId="404"/>
            <ac:spMk id="7" creationId="{7C83D64C-8D83-2BF2-2B8D-FB6AC016945D}"/>
          </ac:spMkLst>
        </pc:spChg>
        <pc:picChg chg="mod">
          <ac:chgData name="Andy Nicholls" userId="f3a83628-1c02-41d9-82d2-b3f17fb20586" providerId="ADAL" clId="{9529EF36-EC4D-4EAD-9F6F-BD13F4865B42}" dt="2025-06-26T16:58:28.795" v="2648" actId="1076"/>
          <ac:picMkLst>
            <pc:docMk/>
            <pc:sldMk cId="379108964" sldId="404"/>
            <ac:picMk id="2" creationId="{FEC146DC-7AE5-74CB-033F-39AC66A6FA4A}"/>
          </ac:picMkLst>
        </pc:picChg>
        <pc:picChg chg="mod ord">
          <ac:chgData name="Andy Nicholls" userId="f3a83628-1c02-41d9-82d2-b3f17fb20586" providerId="ADAL" clId="{9529EF36-EC4D-4EAD-9F6F-BD13F4865B42}" dt="2025-06-27T11:32:12.531" v="2706" actId="1076"/>
          <ac:picMkLst>
            <pc:docMk/>
            <pc:sldMk cId="379108964" sldId="404"/>
            <ac:picMk id="9" creationId="{CF36EB80-1E3F-6E85-25B2-208C91CE628B}"/>
          </ac:picMkLst>
        </pc:picChg>
        <pc:picChg chg="add mod">
          <ac:chgData name="Andy Nicholls" userId="f3a83628-1c02-41d9-82d2-b3f17fb20586" providerId="ADAL" clId="{9529EF36-EC4D-4EAD-9F6F-BD13F4865B42}" dt="2025-06-27T11:45:47.567" v="2717" actId="14826"/>
          <ac:picMkLst>
            <pc:docMk/>
            <pc:sldMk cId="379108964" sldId="404"/>
            <ac:picMk id="12" creationId="{D0E1B0B0-BEDE-6421-69BF-8BC2EBEA2193}"/>
          </ac:picMkLst>
        </pc:picChg>
      </pc:sldChg>
      <pc:sldChg chg="del">
        <pc:chgData name="Andy Nicholls" userId="f3a83628-1c02-41d9-82d2-b3f17fb20586" providerId="ADAL" clId="{9529EF36-EC4D-4EAD-9F6F-BD13F4865B42}" dt="2025-06-18T12:50:02.168" v="6" actId="47"/>
        <pc:sldMkLst>
          <pc:docMk/>
          <pc:sldMk cId="843391283" sldId="413"/>
        </pc:sldMkLst>
      </pc:sldChg>
      <pc:sldChg chg="del">
        <pc:chgData name="Andy Nicholls" userId="f3a83628-1c02-41d9-82d2-b3f17fb20586" providerId="ADAL" clId="{9529EF36-EC4D-4EAD-9F6F-BD13F4865B42}" dt="2025-06-20T14:51:00.483" v="1721" actId="47"/>
        <pc:sldMkLst>
          <pc:docMk/>
          <pc:sldMk cId="3468786964" sldId="2147375128"/>
        </pc:sldMkLst>
      </pc:sldChg>
      <pc:sldChg chg="del">
        <pc:chgData name="Andy Nicholls" userId="f3a83628-1c02-41d9-82d2-b3f17fb20586" providerId="ADAL" clId="{9529EF36-EC4D-4EAD-9F6F-BD13F4865B42}" dt="2025-06-18T12:50:02.168" v="6" actId="47"/>
        <pc:sldMkLst>
          <pc:docMk/>
          <pc:sldMk cId="3612194065" sldId="2147375190"/>
        </pc:sldMkLst>
      </pc:sldChg>
      <pc:sldChg chg="modNotesTx">
        <pc:chgData name="Andy Nicholls" userId="f3a83628-1c02-41d9-82d2-b3f17fb20586" providerId="ADAL" clId="{9529EF36-EC4D-4EAD-9F6F-BD13F4865B42}" dt="2025-07-01T16:23:39.696" v="4208" actId="20577"/>
        <pc:sldMkLst>
          <pc:docMk/>
          <pc:sldMk cId="3217885040" sldId="2147375191"/>
        </pc:sldMkLst>
      </pc:sldChg>
      <pc:sldChg chg="modNotesTx">
        <pc:chgData name="Andy Nicholls" userId="f3a83628-1c02-41d9-82d2-b3f17fb20586" providerId="ADAL" clId="{9529EF36-EC4D-4EAD-9F6F-BD13F4865B42}" dt="2025-07-01T16:28:10.373" v="5024" actId="5793"/>
        <pc:sldMkLst>
          <pc:docMk/>
          <pc:sldMk cId="4122518431" sldId="2147375192"/>
        </pc:sldMkLst>
      </pc:sldChg>
      <pc:sldChg chg="del mod ord modShow">
        <pc:chgData name="Andy Nicholls" userId="f3a83628-1c02-41d9-82d2-b3f17fb20586" providerId="ADAL" clId="{9529EF36-EC4D-4EAD-9F6F-BD13F4865B42}" dt="2025-06-27T11:26:57.871" v="2660" actId="47"/>
        <pc:sldMkLst>
          <pc:docMk/>
          <pc:sldMk cId="3146945589" sldId="2147375193"/>
        </pc:sldMkLst>
      </pc:sldChg>
      <pc:sldChg chg="modSp mod modAnim modNotesTx">
        <pc:chgData name="Andy Nicholls" userId="f3a83628-1c02-41d9-82d2-b3f17fb20586" providerId="ADAL" clId="{9529EF36-EC4D-4EAD-9F6F-BD13F4865B42}" dt="2025-07-01T16:17:58.984" v="3510" actId="20577"/>
        <pc:sldMkLst>
          <pc:docMk/>
          <pc:sldMk cId="3259008830" sldId="2147375194"/>
        </pc:sldMkLst>
        <pc:spChg chg="mod">
          <ac:chgData name="Andy Nicholls" userId="f3a83628-1c02-41d9-82d2-b3f17fb20586" providerId="ADAL" clId="{9529EF36-EC4D-4EAD-9F6F-BD13F4865B42}" dt="2025-06-19T15:06:28.820" v="13" actId="208"/>
          <ac:spMkLst>
            <pc:docMk/>
            <pc:sldMk cId="3259008830" sldId="2147375194"/>
            <ac:spMk id="2" creationId="{3344AF7E-CEBC-1B28-BC8C-A3763DB86BD5}"/>
          </ac:spMkLst>
        </pc:spChg>
        <pc:spChg chg="mod">
          <ac:chgData name="Andy Nicholls" userId="f3a83628-1c02-41d9-82d2-b3f17fb20586" providerId="ADAL" clId="{9529EF36-EC4D-4EAD-9F6F-BD13F4865B42}" dt="2025-06-19T15:06:32.098" v="14" actId="208"/>
          <ac:spMkLst>
            <pc:docMk/>
            <pc:sldMk cId="3259008830" sldId="2147375194"/>
            <ac:spMk id="7" creationId="{03F81A9B-5E86-BE40-59E7-587F31A626EC}"/>
          </ac:spMkLst>
        </pc:spChg>
        <pc:spChg chg="mod">
          <ac:chgData name="Andy Nicholls" userId="f3a83628-1c02-41d9-82d2-b3f17fb20586" providerId="ADAL" clId="{9529EF36-EC4D-4EAD-9F6F-BD13F4865B42}" dt="2025-06-19T15:06:13.007" v="12" actId="113"/>
          <ac:spMkLst>
            <pc:docMk/>
            <pc:sldMk cId="3259008830" sldId="2147375194"/>
            <ac:spMk id="16" creationId="{89AB8E2B-833B-1E61-4CFF-F6A323859A70}"/>
          </ac:spMkLst>
        </pc:spChg>
        <pc:spChg chg="mod">
          <ac:chgData name="Andy Nicholls" userId="f3a83628-1c02-41d9-82d2-b3f17fb20586" providerId="ADAL" clId="{9529EF36-EC4D-4EAD-9F6F-BD13F4865B42}" dt="2025-06-19T15:06:10.808" v="11" actId="113"/>
          <ac:spMkLst>
            <pc:docMk/>
            <pc:sldMk cId="3259008830" sldId="2147375194"/>
            <ac:spMk id="22" creationId="{BEA70762-E2DE-2BFD-7057-DDE195AC10BA}"/>
          </ac:spMkLst>
        </pc:spChg>
        <pc:spChg chg="mod">
          <ac:chgData name="Andy Nicholls" userId="f3a83628-1c02-41d9-82d2-b3f17fb20586" providerId="ADAL" clId="{9529EF36-EC4D-4EAD-9F6F-BD13F4865B42}" dt="2025-06-19T15:06:08.460" v="10" actId="113"/>
          <ac:spMkLst>
            <pc:docMk/>
            <pc:sldMk cId="3259008830" sldId="2147375194"/>
            <ac:spMk id="30" creationId="{94AA0ED8-37A4-27EB-739A-A499C660E959}"/>
          </ac:spMkLst>
        </pc:spChg>
      </pc:sldChg>
      <pc:sldChg chg="del">
        <pc:chgData name="Andy Nicholls" userId="f3a83628-1c02-41d9-82d2-b3f17fb20586" providerId="ADAL" clId="{9529EF36-EC4D-4EAD-9F6F-BD13F4865B42}" dt="2025-06-18T12:50:02.168" v="6" actId="47"/>
        <pc:sldMkLst>
          <pc:docMk/>
          <pc:sldMk cId="28601611" sldId="2147375195"/>
        </pc:sldMkLst>
      </pc:sldChg>
      <pc:sldChg chg="modSp mod modAnim modNotesTx">
        <pc:chgData name="Andy Nicholls" userId="f3a83628-1c02-41d9-82d2-b3f17fb20586" providerId="ADAL" clId="{9529EF36-EC4D-4EAD-9F6F-BD13F4865B42}" dt="2025-07-01T16:20:29.011" v="3667" actId="20577"/>
        <pc:sldMkLst>
          <pc:docMk/>
          <pc:sldMk cId="4224254959" sldId="2147375196"/>
        </pc:sldMkLst>
        <pc:spChg chg="mod">
          <ac:chgData name="Andy Nicholls" userId="f3a83628-1c02-41d9-82d2-b3f17fb20586" providerId="ADAL" clId="{9529EF36-EC4D-4EAD-9F6F-BD13F4865B42}" dt="2025-07-01T11:31:56.266" v="2873" actId="14"/>
          <ac:spMkLst>
            <pc:docMk/>
            <pc:sldMk cId="4224254959" sldId="2147375196"/>
            <ac:spMk id="8" creationId="{F7291239-42B9-84B9-B20A-29EC9918B97E}"/>
          </ac:spMkLst>
        </pc:spChg>
        <pc:picChg chg="mod modCrop">
          <ac:chgData name="Andy Nicholls" userId="f3a83628-1c02-41d9-82d2-b3f17fb20586" providerId="ADAL" clId="{9529EF36-EC4D-4EAD-9F6F-BD13F4865B42}" dt="2025-06-27T11:50:14.725" v="2832" actId="732"/>
          <ac:picMkLst>
            <pc:docMk/>
            <pc:sldMk cId="4224254959" sldId="2147375196"/>
            <ac:picMk id="10" creationId="{9CB989A5-F392-8CAC-0239-F4CBC52BEBD9}"/>
          </ac:picMkLst>
        </pc:picChg>
      </pc:sldChg>
      <pc:sldChg chg="del mod modShow">
        <pc:chgData name="Andy Nicholls" userId="f3a83628-1c02-41d9-82d2-b3f17fb20586" providerId="ADAL" clId="{9529EF36-EC4D-4EAD-9F6F-BD13F4865B42}" dt="2025-06-19T16:25:27.585" v="611" actId="47"/>
        <pc:sldMkLst>
          <pc:docMk/>
          <pc:sldMk cId="384373235" sldId="2147375202"/>
        </pc:sldMkLst>
      </pc:sldChg>
      <pc:sldChg chg="del">
        <pc:chgData name="Andy Nicholls" userId="f3a83628-1c02-41d9-82d2-b3f17fb20586" providerId="ADAL" clId="{9529EF36-EC4D-4EAD-9F6F-BD13F4865B42}" dt="2025-06-19T16:28:32.854" v="613" actId="47"/>
        <pc:sldMkLst>
          <pc:docMk/>
          <pc:sldMk cId="3523433950" sldId="2147375203"/>
        </pc:sldMkLst>
      </pc:sldChg>
      <pc:sldChg chg="del">
        <pc:chgData name="Andy Nicholls" userId="f3a83628-1c02-41d9-82d2-b3f17fb20586" providerId="ADAL" clId="{9529EF36-EC4D-4EAD-9F6F-BD13F4865B42}" dt="2025-06-18T12:50:02.168" v="6" actId="47"/>
        <pc:sldMkLst>
          <pc:docMk/>
          <pc:sldMk cId="729925853" sldId="2147375204"/>
        </pc:sldMkLst>
      </pc:sldChg>
      <pc:sldChg chg="modNotesTx">
        <pc:chgData name="Andy Nicholls" userId="f3a83628-1c02-41d9-82d2-b3f17fb20586" providerId="ADAL" clId="{9529EF36-EC4D-4EAD-9F6F-BD13F4865B42}" dt="2025-07-01T16:13:34.679" v="3141" actId="20577"/>
        <pc:sldMkLst>
          <pc:docMk/>
          <pc:sldMk cId="665038085" sldId="2147375213"/>
        </pc:sldMkLst>
      </pc:sldChg>
      <pc:sldChg chg="modNotesTx">
        <pc:chgData name="Andy Nicholls" userId="f3a83628-1c02-41d9-82d2-b3f17fb20586" providerId="ADAL" clId="{9529EF36-EC4D-4EAD-9F6F-BD13F4865B42}" dt="2025-07-01T16:14:22.080" v="3259" actId="20577"/>
        <pc:sldMkLst>
          <pc:docMk/>
          <pc:sldMk cId="2289243271" sldId="2147375214"/>
        </pc:sldMkLst>
      </pc:sldChg>
      <pc:sldChg chg="modNotesTx">
        <pc:chgData name="Andy Nicholls" userId="f3a83628-1c02-41d9-82d2-b3f17fb20586" providerId="ADAL" clId="{9529EF36-EC4D-4EAD-9F6F-BD13F4865B42}" dt="2025-07-01T16:21:30.655" v="3910" actId="20577"/>
        <pc:sldMkLst>
          <pc:docMk/>
          <pc:sldMk cId="4193961315" sldId="2147375216"/>
        </pc:sldMkLst>
      </pc:sldChg>
      <pc:sldChg chg="del mod modAnim modShow">
        <pc:chgData name="Andy Nicholls" userId="f3a83628-1c02-41d9-82d2-b3f17fb20586" providerId="ADAL" clId="{9529EF36-EC4D-4EAD-9F6F-BD13F4865B42}" dt="2025-06-20T16:42:32.309" v="2569" actId="47"/>
        <pc:sldMkLst>
          <pc:docMk/>
          <pc:sldMk cId="4106191194" sldId="2147375218"/>
        </pc:sldMkLst>
      </pc:sldChg>
      <pc:sldChg chg="delSp modSp mod modAnim modShow modNotesTx">
        <pc:chgData name="Andy Nicholls" userId="f3a83628-1c02-41d9-82d2-b3f17fb20586" providerId="ADAL" clId="{9529EF36-EC4D-4EAD-9F6F-BD13F4865B42}" dt="2025-07-01T11:31:06.001" v="2833" actId="729"/>
        <pc:sldMkLst>
          <pc:docMk/>
          <pc:sldMk cId="3660160134" sldId="2147375220"/>
        </pc:sldMkLst>
        <pc:spChg chg="mod">
          <ac:chgData name="Andy Nicholls" userId="f3a83628-1c02-41d9-82d2-b3f17fb20586" providerId="ADAL" clId="{9529EF36-EC4D-4EAD-9F6F-BD13F4865B42}" dt="2025-06-19T16:39:04.409" v="772" actId="1076"/>
          <ac:spMkLst>
            <pc:docMk/>
            <pc:sldMk cId="3660160134" sldId="2147375220"/>
            <ac:spMk id="12" creationId="{6085B0A6-334F-9CD7-ABF7-F38B32B72843}"/>
          </ac:spMkLst>
        </pc:spChg>
      </pc:sldChg>
      <pc:sldChg chg="modSp mod modAnim modNotesTx">
        <pc:chgData name="Andy Nicholls" userId="f3a83628-1c02-41d9-82d2-b3f17fb20586" providerId="ADAL" clId="{9529EF36-EC4D-4EAD-9F6F-BD13F4865B42}" dt="2025-07-01T16:23:07.653" v="4128" actId="20577"/>
        <pc:sldMkLst>
          <pc:docMk/>
          <pc:sldMk cId="3900469083" sldId="2147375221"/>
        </pc:sldMkLst>
        <pc:spChg chg="mod">
          <ac:chgData name="Andy Nicholls" userId="f3a83628-1c02-41d9-82d2-b3f17fb20586" providerId="ADAL" clId="{9529EF36-EC4D-4EAD-9F6F-BD13F4865B42}" dt="2025-07-01T11:32:47.842" v="2899" actId="20577"/>
          <ac:spMkLst>
            <pc:docMk/>
            <pc:sldMk cId="3900469083" sldId="2147375221"/>
            <ac:spMk id="5" creationId="{F3DF9463-A9E3-F215-4057-131253922FCC}"/>
          </ac:spMkLst>
        </pc:spChg>
        <pc:spChg chg="mod">
          <ac:chgData name="Andy Nicholls" userId="f3a83628-1c02-41d9-82d2-b3f17fb20586" providerId="ADAL" clId="{9529EF36-EC4D-4EAD-9F6F-BD13F4865B42}" dt="2025-06-26T16:37:14.018" v="2638" actId="5793"/>
          <ac:spMkLst>
            <pc:docMk/>
            <pc:sldMk cId="3900469083" sldId="2147375221"/>
            <ac:spMk id="7" creationId="{4EBFECAA-36E6-8A7F-3BDC-041ABD4525F2}"/>
          </ac:spMkLst>
        </pc:spChg>
        <pc:spChg chg="mod">
          <ac:chgData name="Andy Nicholls" userId="f3a83628-1c02-41d9-82d2-b3f17fb20586" providerId="ADAL" clId="{9529EF36-EC4D-4EAD-9F6F-BD13F4865B42}" dt="2025-06-19T17:24:13.522" v="1581"/>
          <ac:spMkLst>
            <pc:docMk/>
            <pc:sldMk cId="3900469083" sldId="2147375221"/>
            <ac:spMk id="8" creationId="{F21C16D2-1F7D-1DF3-6867-A55092BF60A6}"/>
          </ac:spMkLst>
        </pc:spChg>
        <pc:spChg chg="mod">
          <ac:chgData name="Andy Nicholls" userId="f3a83628-1c02-41d9-82d2-b3f17fb20586" providerId="ADAL" clId="{9529EF36-EC4D-4EAD-9F6F-BD13F4865B42}" dt="2025-07-01T11:31:40.437" v="2868" actId="21"/>
          <ac:spMkLst>
            <pc:docMk/>
            <pc:sldMk cId="3900469083" sldId="2147375221"/>
            <ac:spMk id="9" creationId="{2D9DAF52-DC05-8F06-5B52-8A96E01BC1FA}"/>
          </ac:spMkLst>
        </pc:spChg>
        <pc:picChg chg="mod">
          <ac:chgData name="Andy Nicholls" userId="f3a83628-1c02-41d9-82d2-b3f17fb20586" providerId="ADAL" clId="{9529EF36-EC4D-4EAD-9F6F-BD13F4865B42}" dt="2025-06-19T17:23:58.440" v="1579" actId="14826"/>
          <ac:picMkLst>
            <pc:docMk/>
            <pc:sldMk cId="3900469083" sldId="2147375221"/>
            <ac:picMk id="4098" creationId="{32BE886E-4D16-F19D-A133-5A4F9122B573}"/>
          </ac:picMkLst>
        </pc:picChg>
      </pc:sldChg>
      <pc:sldChg chg="modNotesTx">
        <pc:chgData name="Andy Nicholls" userId="f3a83628-1c02-41d9-82d2-b3f17fb20586" providerId="ADAL" clId="{9529EF36-EC4D-4EAD-9F6F-BD13F4865B42}" dt="2025-07-01T16:24:21.816" v="4316" actId="20577"/>
        <pc:sldMkLst>
          <pc:docMk/>
          <pc:sldMk cId="1021720637" sldId="2147375222"/>
        </pc:sldMkLst>
      </pc:sldChg>
      <pc:sldChg chg="del">
        <pc:chgData name="Andy Nicholls" userId="f3a83628-1c02-41d9-82d2-b3f17fb20586" providerId="ADAL" clId="{9529EF36-EC4D-4EAD-9F6F-BD13F4865B42}" dt="2025-06-19T16:23:39.730" v="610" actId="47"/>
        <pc:sldMkLst>
          <pc:docMk/>
          <pc:sldMk cId="3662846631" sldId="2147375223"/>
        </pc:sldMkLst>
      </pc:sldChg>
      <pc:sldChg chg="del">
        <pc:chgData name="Andy Nicholls" userId="f3a83628-1c02-41d9-82d2-b3f17fb20586" providerId="ADAL" clId="{9529EF36-EC4D-4EAD-9F6F-BD13F4865B42}" dt="2025-06-19T16:23:39.730" v="610" actId="47"/>
        <pc:sldMkLst>
          <pc:docMk/>
          <pc:sldMk cId="3070931935" sldId="2147375224"/>
        </pc:sldMkLst>
      </pc:sldChg>
      <pc:sldChg chg="delSp modSp mod modNotesTx">
        <pc:chgData name="Andy Nicholls" userId="f3a83628-1c02-41d9-82d2-b3f17fb20586" providerId="ADAL" clId="{9529EF36-EC4D-4EAD-9F6F-BD13F4865B42}" dt="2025-07-01T16:25:31.026" v="4544" actId="6549"/>
        <pc:sldMkLst>
          <pc:docMk/>
          <pc:sldMk cId="2290204480" sldId="2147375225"/>
        </pc:sldMkLst>
        <pc:spChg chg="mod">
          <ac:chgData name="Andy Nicholls" userId="f3a83628-1c02-41d9-82d2-b3f17fb20586" providerId="ADAL" clId="{9529EF36-EC4D-4EAD-9F6F-BD13F4865B42}" dt="2025-06-19T16:46:30.172" v="1063" actId="207"/>
          <ac:spMkLst>
            <pc:docMk/>
            <pc:sldMk cId="2290204480" sldId="2147375225"/>
            <ac:spMk id="2" creationId="{FF4A8947-F266-250B-2F04-2BBC462FF876}"/>
          </ac:spMkLst>
        </pc:spChg>
        <pc:spChg chg="mod">
          <ac:chgData name="Andy Nicholls" userId="f3a83628-1c02-41d9-82d2-b3f17fb20586" providerId="ADAL" clId="{9529EF36-EC4D-4EAD-9F6F-BD13F4865B42}" dt="2025-06-19T16:48:24.216" v="1093" actId="20577"/>
          <ac:spMkLst>
            <pc:docMk/>
            <pc:sldMk cId="2290204480" sldId="2147375225"/>
            <ac:spMk id="12" creationId="{8DB138EA-220A-0460-7779-992B1950092B}"/>
          </ac:spMkLst>
        </pc:spChg>
        <pc:grpChg chg="mod">
          <ac:chgData name="Andy Nicholls" userId="f3a83628-1c02-41d9-82d2-b3f17fb20586" providerId="ADAL" clId="{9529EF36-EC4D-4EAD-9F6F-BD13F4865B42}" dt="2025-06-19T16:47:30.092" v="1066" actId="14861"/>
          <ac:grpSpMkLst>
            <pc:docMk/>
            <pc:sldMk cId="2290204480" sldId="2147375225"/>
            <ac:grpSpMk id="19" creationId="{B6F5DCA8-AD23-3034-3966-1B321BA301D9}"/>
          </ac:grpSpMkLst>
        </pc:grpChg>
        <pc:picChg chg="mod">
          <ac:chgData name="Andy Nicholls" userId="f3a83628-1c02-41d9-82d2-b3f17fb20586" providerId="ADAL" clId="{9529EF36-EC4D-4EAD-9F6F-BD13F4865B42}" dt="2025-06-19T16:47:54.706" v="1069" actId="14861"/>
          <ac:picMkLst>
            <pc:docMk/>
            <pc:sldMk cId="2290204480" sldId="2147375225"/>
            <ac:picMk id="9" creationId="{70F0D67A-43E3-0CCB-9D4A-66DBA67AA129}"/>
          </ac:picMkLst>
        </pc:picChg>
        <pc:picChg chg="mod">
          <ac:chgData name="Andy Nicholls" userId="f3a83628-1c02-41d9-82d2-b3f17fb20586" providerId="ADAL" clId="{9529EF36-EC4D-4EAD-9F6F-BD13F4865B42}" dt="2025-06-19T16:47:44.033" v="1067" actId="14861"/>
          <ac:picMkLst>
            <pc:docMk/>
            <pc:sldMk cId="2290204480" sldId="2147375225"/>
            <ac:picMk id="10" creationId="{22E0CDF4-7C14-C7AE-0451-25D085D4CFAE}"/>
          </ac:picMkLst>
        </pc:picChg>
        <pc:picChg chg="mod">
          <ac:chgData name="Andy Nicholls" userId="f3a83628-1c02-41d9-82d2-b3f17fb20586" providerId="ADAL" clId="{9529EF36-EC4D-4EAD-9F6F-BD13F4865B42}" dt="2025-06-19T16:47:50.960" v="1068" actId="14861"/>
          <ac:picMkLst>
            <pc:docMk/>
            <pc:sldMk cId="2290204480" sldId="2147375225"/>
            <ac:picMk id="11" creationId="{C8DD9706-194D-40F8-5617-62BD749D1A6B}"/>
          </ac:picMkLst>
        </pc:picChg>
      </pc:sldChg>
      <pc:sldChg chg="modSp mod modNotesTx">
        <pc:chgData name="Andy Nicholls" userId="f3a83628-1c02-41d9-82d2-b3f17fb20586" providerId="ADAL" clId="{9529EF36-EC4D-4EAD-9F6F-BD13F4865B42}" dt="2025-07-01T16:27:23.256" v="4940" actId="20577"/>
        <pc:sldMkLst>
          <pc:docMk/>
          <pc:sldMk cId="273663892" sldId="2147375226"/>
        </pc:sldMkLst>
        <pc:spChg chg="mod">
          <ac:chgData name="Andy Nicholls" userId="f3a83628-1c02-41d9-82d2-b3f17fb20586" providerId="ADAL" clId="{9529EF36-EC4D-4EAD-9F6F-BD13F4865B42}" dt="2025-06-27T11:46:53.522" v="2729" actId="20577"/>
          <ac:spMkLst>
            <pc:docMk/>
            <pc:sldMk cId="273663892" sldId="2147375226"/>
            <ac:spMk id="2" creationId="{FB66003D-B6A7-5B39-A5E5-3886B19A4ABC}"/>
          </ac:spMkLst>
        </pc:spChg>
      </pc:sldChg>
      <pc:sldChg chg="del">
        <pc:chgData name="Andy Nicholls" userId="f3a83628-1c02-41d9-82d2-b3f17fb20586" providerId="ADAL" clId="{9529EF36-EC4D-4EAD-9F6F-BD13F4865B42}" dt="2025-06-18T12:50:02.168" v="6" actId="47"/>
        <pc:sldMkLst>
          <pc:docMk/>
          <pc:sldMk cId="976502334" sldId="2147375227"/>
        </pc:sldMkLst>
      </pc:sldChg>
      <pc:sldChg chg="addSp delSp modSp del mod modShow">
        <pc:chgData name="Andy Nicholls" userId="f3a83628-1c02-41d9-82d2-b3f17fb20586" providerId="ADAL" clId="{9529EF36-EC4D-4EAD-9F6F-BD13F4865B42}" dt="2025-06-27T11:31:32.674" v="2698" actId="47"/>
        <pc:sldMkLst>
          <pc:docMk/>
          <pc:sldMk cId="4092752188" sldId="2147375228"/>
        </pc:sldMkLst>
      </pc:sldChg>
      <pc:sldChg chg="modSp mod modNotesTx">
        <pc:chgData name="Andy Nicholls" userId="f3a83628-1c02-41d9-82d2-b3f17fb20586" providerId="ADAL" clId="{9529EF36-EC4D-4EAD-9F6F-BD13F4865B42}" dt="2025-07-01T16:29:18.555" v="5211" actId="20577"/>
        <pc:sldMkLst>
          <pc:docMk/>
          <pc:sldMk cId="1169543932" sldId="2147375230"/>
        </pc:sldMkLst>
        <pc:spChg chg="mod">
          <ac:chgData name="Andy Nicholls" userId="f3a83628-1c02-41d9-82d2-b3f17fb20586" providerId="ADAL" clId="{9529EF36-EC4D-4EAD-9F6F-BD13F4865B42}" dt="2025-06-19T16:53:06.143" v="1180" actId="313"/>
          <ac:spMkLst>
            <pc:docMk/>
            <pc:sldMk cId="1169543932" sldId="2147375230"/>
            <ac:spMk id="3" creationId="{91F8EF69-EAB0-C8C0-DA01-6D084D8FD1D2}"/>
          </ac:spMkLst>
        </pc:spChg>
      </pc:sldChg>
      <pc:sldChg chg="del ord modNotesTx">
        <pc:chgData name="Andy Nicholls" userId="f3a83628-1c02-41d9-82d2-b3f17fb20586" providerId="ADAL" clId="{9529EF36-EC4D-4EAD-9F6F-BD13F4865B42}" dt="2025-06-19T16:49:57.120" v="1097" actId="47"/>
        <pc:sldMkLst>
          <pc:docMk/>
          <pc:sldMk cId="2903673505" sldId="2147375231"/>
        </pc:sldMkLst>
      </pc:sldChg>
      <pc:sldChg chg="addSp delSp modSp mod addAnim delAnim modAnim modNotesTx">
        <pc:chgData name="Andy Nicholls" userId="f3a83628-1c02-41d9-82d2-b3f17fb20586" providerId="ADAL" clId="{9529EF36-EC4D-4EAD-9F6F-BD13F4865B42}" dt="2025-07-01T16:31:24.167" v="5646" actId="20577"/>
        <pc:sldMkLst>
          <pc:docMk/>
          <pc:sldMk cId="3636626389" sldId="2147375232"/>
        </pc:sldMkLst>
        <pc:spChg chg="mod">
          <ac:chgData name="Andy Nicholls" userId="f3a83628-1c02-41d9-82d2-b3f17fb20586" providerId="ADAL" clId="{9529EF36-EC4D-4EAD-9F6F-BD13F4865B42}" dt="2025-06-18T12:38:24.732" v="4" actId="14100"/>
          <ac:spMkLst>
            <pc:docMk/>
            <pc:sldMk cId="3636626389" sldId="2147375232"/>
            <ac:spMk id="5" creationId="{F13E64AF-18E9-4739-A2AA-ABE5265C02FD}"/>
          </ac:spMkLst>
        </pc:spChg>
        <pc:spChg chg="mod">
          <ac:chgData name="Andy Nicholls" userId="f3a83628-1c02-41d9-82d2-b3f17fb20586" providerId="ADAL" clId="{9529EF36-EC4D-4EAD-9F6F-BD13F4865B42}" dt="2025-06-18T12:39:23.930" v="5" actId="408"/>
          <ac:spMkLst>
            <pc:docMk/>
            <pc:sldMk cId="3636626389" sldId="2147375232"/>
            <ac:spMk id="12" creationId="{B088DF8D-F907-1294-83E7-11D4C33B9E09}"/>
          </ac:spMkLst>
        </pc:spChg>
        <pc:spChg chg="mod">
          <ac:chgData name="Andy Nicholls" userId="f3a83628-1c02-41d9-82d2-b3f17fb20586" providerId="ADAL" clId="{9529EF36-EC4D-4EAD-9F6F-BD13F4865B42}" dt="2025-06-27T11:47:08.632" v="2737" actId="14100"/>
          <ac:spMkLst>
            <pc:docMk/>
            <pc:sldMk cId="3636626389" sldId="2147375232"/>
            <ac:spMk id="13" creationId="{7E38931C-C5DA-B073-F51B-05A7C3DFB797}"/>
          </ac:spMkLst>
        </pc:spChg>
        <pc:spChg chg="mod">
          <ac:chgData name="Andy Nicholls" userId="f3a83628-1c02-41d9-82d2-b3f17fb20586" providerId="ADAL" clId="{9529EF36-EC4D-4EAD-9F6F-BD13F4865B42}" dt="2025-06-27T11:47:31.074" v="2767" actId="20577"/>
          <ac:spMkLst>
            <pc:docMk/>
            <pc:sldMk cId="3636626389" sldId="2147375232"/>
            <ac:spMk id="14" creationId="{42C511CF-E654-332F-EC34-90C5ACEB9EBD}"/>
          </ac:spMkLst>
        </pc:spChg>
        <pc:picChg chg="add del">
          <ac:chgData name="Andy Nicholls" userId="f3a83628-1c02-41d9-82d2-b3f17fb20586" providerId="ADAL" clId="{9529EF36-EC4D-4EAD-9F6F-BD13F4865B42}" dt="2025-06-19T15:53:04.885" v="52" actId="21"/>
          <ac:picMkLst>
            <pc:docMk/>
            <pc:sldMk cId="3636626389" sldId="2147375232"/>
            <ac:picMk id="8" creationId="{5DEBBE4E-D30B-501A-0F88-DA81080F88C3}"/>
          </ac:picMkLst>
        </pc:picChg>
        <pc:picChg chg="add del">
          <ac:chgData name="Andy Nicholls" userId="f3a83628-1c02-41d9-82d2-b3f17fb20586" providerId="ADAL" clId="{9529EF36-EC4D-4EAD-9F6F-BD13F4865B42}" dt="2025-06-19T15:53:05.522" v="54" actId="21"/>
          <ac:picMkLst>
            <pc:docMk/>
            <pc:sldMk cId="3636626389" sldId="2147375232"/>
            <ac:picMk id="9" creationId="{8E7E695B-FDCE-F182-623D-95ACC0791D6B}"/>
          </ac:picMkLst>
        </pc:picChg>
        <pc:picChg chg="add del">
          <ac:chgData name="Andy Nicholls" userId="f3a83628-1c02-41d9-82d2-b3f17fb20586" providerId="ADAL" clId="{9529EF36-EC4D-4EAD-9F6F-BD13F4865B42}" dt="2025-06-19T15:53:06.252" v="56" actId="21"/>
          <ac:picMkLst>
            <pc:docMk/>
            <pc:sldMk cId="3636626389" sldId="2147375232"/>
            <ac:picMk id="15" creationId="{3F49FA39-55AA-FBFC-5522-5B0026587849}"/>
          </ac:picMkLst>
        </pc:picChg>
        <pc:picChg chg="add mod">
          <ac:chgData name="Andy Nicholls" userId="f3a83628-1c02-41d9-82d2-b3f17fb20586" providerId="ADAL" clId="{9529EF36-EC4D-4EAD-9F6F-BD13F4865B42}" dt="2025-06-19T16:31:37.085" v="650" actId="14826"/>
          <ac:picMkLst>
            <pc:docMk/>
            <pc:sldMk cId="3636626389" sldId="2147375232"/>
            <ac:picMk id="17" creationId="{30DA103D-65D2-70FC-F0D6-41ED5BBE283B}"/>
          </ac:picMkLst>
        </pc:picChg>
      </pc:sldChg>
      <pc:sldChg chg="modNotesTx">
        <pc:chgData name="Andy Nicholls" userId="f3a83628-1c02-41d9-82d2-b3f17fb20586" providerId="ADAL" clId="{9529EF36-EC4D-4EAD-9F6F-BD13F4865B42}" dt="2025-07-01T16:31:14.153" v="5634" actId="20577"/>
        <pc:sldMkLst>
          <pc:docMk/>
          <pc:sldMk cId="334404771" sldId="2147375233"/>
        </pc:sldMkLst>
      </pc:sldChg>
      <pc:sldChg chg="addSp delSp modSp new mod modClrScheme addAnim delAnim modAnim chgLayout modNotesTx">
        <pc:chgData name="Andy Nicholls" userId="f3a83628-1c02-41d9-82d2-b3f17fb20586" providerId="ADAL" clId="{9529EF36-EC4D-4EAD-9F6F-BD13F4865B42}" dt="2025-07-01T16:25:26.253" v="4543" actId="313"/>
        <pc:sldMkLst>
          <pc:docMk/>
          <pc:sldMk cId="1660441434" sldId="2147375234"/>
        </pc:sldMkLst>
        <pc:spChg chg="add mod ord">
          <ac:chgData name="Andy Nicholls" userId="f3a83628-1c02-41d9-82d2-b3f17fb20586" providerId="ADAL" clId="{9529EF36-EC4D-4EAD-9F6F-BD13F4865B42}" dt="2025-06-19T16:44:22.975" v="1027" actId="313"/>
          <ac:spMkLst>
            <pc:docMk/>
            <pc:sldMk cId="1660441434" sldId="2147375234"/>
            <ac:spMk id="5" creationId="{8707137E-7222-C8C6-1735-700697928D58}"/>
          </ac:spMkLst>
        </pc:spChg>
        <pc:spChg chg="add mod ord">
          <ac:chgData name="Andy Nicholls" userId="f3a83628-1c02-41d9-82d2-b3f17fb20586" providerId="ADAL" clId="{9529EF36-EC4D-4EAD-9F6F-BD13F4865B42}" dt="2025-06-19T16:09:33.493" v="123" actId="20577"/>
          <ac:spMkLst>
            <pc:docMk/>
            <pc:sldMk cId="1660441434" sldId="2147375234"/>
            <ac:spMk id="6" creationId="{5BBD6B36-20B1-F641-7EFB-77AF8C7B31EA}"/>
          </ac:spMkLst>
        </pc:spChg>
        <pc:spChg chg="add mod ord">
          <ac:chgData name="Andy Nicholls" userId="f3a83628-1c02-41d9-82d2-b3f17fb20586" providerId="ADAL" clId="{9529EF36-EC4D-4EAD-9F6F-BD13F4865B42}" dt="2025-06-19T16:08:57.793" v="100" actId="20577"/>
          <ac:spMkLst>
            <pc:docMk/>
            <pc:sldMk cId="1660441434" sldId="2147375234"/>
            <ac:spMk id="7" creationId="{0E0A4861-77B2-373D-08B1-0CC6DCAE2A83}"/>
          </ac:spMkLst>
        </pc:spChg>
        <pc:spChg chg="add mod">
          <ac:chgData name="Andy Nicholls" userId="f3a83628-1c02-41d9-82d2-b3f17fb20586" providerId="ADAL" clId="{9529EF36-EC4D-4EAD-9F6F-BD13F4865B42}" dt="2025-06-26T16:59:30.649" v="2659" actId="6549"/>
          <ac:spMkLst>
            <pc:docMk/>
            <pc:sldMk cId="1660441434" sldId="2147375234"/>
            <ac:spMk id="8" creationId="{3BEAAF5C-DA85-5669-BD31-E5756914FEC8}"/>
          </ac:spMkLst>
        </pc:spChg>
        <pc:spChg chg="add mod">
          <ac:chgData name="Andy Nicholls" userId="f3a83628-1c02-41d9-82d2-b3f17fb20586" providerId="ADAL" clId="{9529EF36-EC4D-4EAD-9F6F-BD13F4865B42}" dt="2025-06-19T16:21:17.049" v="594" actId="14100"/>
          <ac:spMkLst>
            <pc:docMk/>
            <pc:sldMk cId="1660441434" sldId="2147375234"/>
            <ac:spMk id="12" creationId="{EEC93785-2678-CB1F-692F-307B181E298A}"/>
          </ac:spMkLst>
        </pc:spChg>
        <pc:spChg chg="add mod">
          <ac:chgData name="Andy Nicholls" userId="f3a83628-1c02-41d9-82d2-b3f17fb20586" providerId="ADAL" clId="{9529EF36-EC4D-4EAD-9F6F-BD13F4865B42}" dt="2025-06-19T16:17:28.118" v="443" actId="1076"/>
          <ac:spMkLst>
            <pc:docMk/>
            <pc:sldMk cId="1660441434" sldId="2147375234"/>
            <ac:spMk id="16" creationId="{AC7E0305-BE22-9783-5400-3FCD15E53EEC}"/>
          </ac:spMkLst>
        </pc:spChg>
        <pc:spChg chg="add mod">
          <ac:chgData name="Andy Nicholls" userId="f3a83628-1c02-41d9-82d2-b3f17fb20586" providerId="ADAL" clId="{9529EF36-EC4D-4EAD-9F6F-BD13F4865B42}" dt="2025-06-19T16:17:56.836" v="456" actId="1076"/>
          <ac:spMkLst>
            <pc:docMk/>
            <pc:sldMk cId="1660441434" sldId="2147375234"/>
            <ac:spMk id="17" creationId="{5820DFC3-0D96-9760-41B0-FFFC5B06EF61}"/>
          </ac:spMkLst>
        </pc:spChg>
        <pc:spChg chg="add mod">
          <ac:chgData name="Andy Nicholls" userId="f3a83628-1c02-41d9-82d2-b3f17fb20586" providerId="ADAL" clId="{9529EF36-EC4D-4EAD-9F6F-BD13F4865B42}" dt="2025-06-19T16:20:41.834" v="590" actId="14100"/>
          <ac:spMkLst>
            <pc:docMk/>
            <pc:sldMk cId="1660441434" sldId="2147375234"/>
            <ac:spMk id="18" creationId="{F920985B-8CE3-031F-8B02-E929C0EB4425}"/>
          </ac:spMkLst>
        </pc:spChg>
        <pc:spChg chg="add mod">
          <ac:chgData name="Andy Nicholls" userId="f3a83628-1c02-41d9-82d2-b3f17fb20586" providerId="ADAL" clId="{9529EF36-EC4D-4EAD-9F6F-BD13F4865B42}" dt="2025-06-19T16:19:01.124" v="556" actId="1076"/>
          <ac:spMkLst>
            <pc:docMk/>
            <pc:sldMk cId="1660441434" sldId="2147375234"/>
            <ac:spMk id="19" creationId="{881D248E-2C28-6418-3BAA-44CC5D31A252}"/>
          </ac:spMkLst>
        </pc:spChg>
        <pc:spChg chg="add mod">
          <ac:chgData name="Andy Nicholls" userId="f3a83628-1c02-41d9-82d2-b3f17fb20586" providerId="ADAL" clId="{9529EF36-EC4D-4EAD-9F6F-BD13F4865B42}" dt="2025-06-27T11:30:28.923" v="2697" actId="6549"/>
          <ac:spMkLst>
            <pc:docMk/>
            <pc:sldMk cId="1660441434" sldId="2147375234"/>
            <ac:spMk id="23" creationId="{E70ED93D-6775-4272-38BD-1AD9AE674AB4}"/>
          </ac:spMkLst>
        </pc:spChg>
        <pc:spChg chg="add mod">
          <ac:chgData name="Andy Nicholls" userId="f3a83628-1c02-41d9-82d2-b3f17fb20586" providerId="ADAL" clId="{9529EF36-EC4D-4EAD-9F6F-BD13F4865B42}" dt="2025-06-19T17:30:25.962" v="1700" actId="1035"/>
          <ac:spMkLst>
            <pc:docMk/>
            <pc:sldMk cId="1660441434" sldId="2147375234"/>
            <ac:spMk id="24" creationId="{93FC2CC8-C928-F4BF-F336-224CFBE9C934}"/>
          </ac:spMkLst>
        </pc:spChg>
        <pc:picChg chg="add mod">
          <ac:chgData name="Andy Nicholls" userId="f3a83628-1c02-41d9-82d2-b3f17fb20586" providerId="ADAL" clId="{9529EF36-EC4D-4EAD-9F6F-BD13F4865B42}" dt="2025-06-27T11:29:34.852" v="2689" actId="1037"/>
          <ac:picMkLst>
            <pc:docMk/>
            <pc:sldMk cId="1660441434" sldId="2147375234"/>
            <ac:picMk id="2" creationId="{F1C86DEA-A651-062D-B1FE-19E6CF31F0A9}"/>
          </ac:picMkLst>
        </pc:picChg>
        <pc:picChg chg="add mod">
          <ac:chgData name="Andy Nicholls" userId="f3a83628-1c02-41d9-82d2-b3f17fb20586" providerId="ADAL" clId="{9529EF36-EC4D-4EAD-9F6F-BD13F4865B42}" dt="2025-06-27T11:29:34.852" v="2689" actId="1037"/>
          <ac:picMkLst>
            <pc:docMk/>
            <pc:sldMk cId="1660441434" sldId="2147375234"/>
            <ac:picMk id="3" creationId="{70634A3D-6AAF-EF7B-DCCA-C01634C777D8}"/>
          </ac:picMkLst>
        </pc:picChg>
        <pc:picChg chg="add mod">
          <ac:chgData name="Andy Nicholls" userId="f3a83628-1c02-41d9-82d2-b3f17fb20586" providerId="ADAL" clId="{9529EF36-EC4D-4EAD-9F6F-BD13F4865B42}" dt="2025-06-19T16:17:23.698" v="442" actId="1076"/>
          <ac:picMkLst>
            <pc:docMk/>
            <pc:sldMk cId="1660441434" sldId="2147375234"/>
            <ac:picMk id="9" creationId="{336D22BC-9C8A-E2B6-5A08-F793EBE94A6F}"/>
          </ac:picMkLst>
        </pc:picChg>
        <pc:picChg chg="add mod">
          <ac:chgData name="Andy Nicholls" userId="f3a83628-1c02-41d9-82d2-b3f17fb20586" providerId="ADAL" clId="{9529EF36-EC4D-4EAD-9F6F-BD13F4865B42}" dt="2025-06-19T16:17:23.698" v="442" actId="1076"/>
          <ac:picMkLst>
            <pc:docMk/>
            <pc:sldMk cId="1660441434" sldId="2147375234"/>
            <ac:picMk id="10" creationId="{0824B23D-9DA0-0F66-7F9B-A324B2BF83ED}"/>
          </ac:picMkLst>
        </pc:picChg>
        <pc:picChg chg="add mod">
          <ac:chgData name="Andy Nicholls" userId="f3a83628-1c02-41d9-82d2-b3f17fb20586" providerId="ADAL" clId="{9529EF36-EC4D-4EAD-9F6F-BD13F4865B42}" dt="2025-06-19T16:17:23.698" v="442" actId="1076"/>
          <ac:picMkLst>
            <pc:docMk/>
            <pc:sldMk cId="1660441434" sldId="2147375234"/>
            <ac:picMk id="11" creationId="{0F9AF4A6-ECD7-4BDA-49AC-1CCC0A610855}"/>
          </ac:picMkLst>
        </pc:picChg>
        <pc:picChg chg="add mod">
          <ac:chgData name="Andy Nicholls" userId="f3a83628-1c02-41d9-82d2-b3f17fb20586" providerId="ADAL" clId="{9529EF36-EC4D-4EAD-9F6F-BD13F4865B42}" dt="2025-06-19T16:09:25.115" v="103" actId="1076"/>
          <ac:picMkLst>
            <pc:docMk/>
            <pc:sldMk cId="1660441434" sldId="2147375234"/>
            <ac:picMk id="1026" creationId="{F27333D8-0BF5-CE24-EFDE-4FF91727B54C}"/>
          </ac:picMkLst>
        </pc:picChg>
        <pc:picChg chg="add mod">
          <ac:chgData name="Andy Nicholls" userId="f3a83628-1c02-41d9-82d2-b3f17fb20586" providerId="ADAL" clId="{9529EF36-EC4D-4EAD-9F6F-BD13F4865B42}" dt="2025-06-19T16:17:23.698" v="442" actId="1076"/>
          <ac:picMkLst>
            <pc:docMk/>
            <pc:sldMk cId="1660441434" sldId="2147375234"/>
            <ac:picMk id="1028" creationId="{5DB2BBD9-4B7A-3B02-B98B-111E4E75DD9E}"/>
          </ac:picMkLst>
        </pc:picChg>
      </pc:sldChg>
      <pc:sldChg chg="delSp modSp add mod modNotesTx">
        <pc:chgData name="Andy Nicholls" userId="f3a83628-1c02-41d9-82d2-b3f17fb20586" providerId="ADAL" clId="{9529EF36-EC4D-4EAD-9F6F-BD13F4865B42}" dt="2025-07-01T16:26:48.513" v="4784" actId="20577"/>
        <pc:sldMkLst>
          <pc:docMk/>
          <pc:sldMk cId="2289730548" sldId="2147375235"/>
        </pc:sldMkLst>
        <pc:spChg chg="mod">
          <ac:chgData name="Andy Nicholls" userId="f3a83628-1c02-41d9-82d2-b3f17fb20586" providerId="ADAL" clId="{9529EF36-EC4D-4EAD-9F6F-BD13F4865B42}" dt="2025-06-19T16:46:38.243" v="1064" actId="207"/>
          <ac:spMkLst>
            <pc:docMk/>
            <pc:sldMk cId="2289730548" sldId="2147375235"/>
            <ac:spMk id="2" creationId="{870BC0A2-A7D8-D5A3-83C4-B55EF621D2A1}"/>
          </ac:spMkLst>
        </pc:spChg>
        <pc:spChg chg="mod">
          <ac:chgData name="Andy Nicholls" userId="f3a83628-1c02-41d9-82d2-b3f17fb20586" providerId="ADAL" clId="{9529EF36-EC4D-4EAD-9F6F-BD13F4865B42}" dt="2025-06-19T16:48:28.157" v="1094"/>
          <ac:spMkLst>
            <pc:docMk/>
            <pc:sldMk cId="2289730548" sldId="2147375235"/>
            <ac:spMk id="12" creationId="{4A58D6BA-0AC2-2AEC-444D-051876B6C554}"/>
          </ac:spMkLst>
        </pc:spChg>
        <pc:picChg chg="mod">
          <ac:chgData name="Andy Nicholls" userId="f3a83628-1c02-41d9-82d2-b3f17fb20586" providerId="ADAL" clId="{9529EF36-EC4D-4EAD-9F6F-BD13F4865B42}" dt="2025-06-19T16:48:43.348" v="1095" actId="14861"/>
          <ac:picMkLst>
            <pc:docMk/>
            <pc:sldMk cId="2289730548" sldId="2147375235"/>
            <ac:picMk id="18" creationId="{C0265373-87B3-4BCD-481B-844A42691601}"/>
          </ac:picMkLst>
        </pc:picChg>
      </pc:sldChg>
      <pc:sldChg chg="addSp delSp modSp new mod ord modClrScheme chgLayout modNotesTx">
        <pc:chgData name="Andy Nicholls" userId="f3a83628-1c02-41d9-82d2-b3f17fb20586" providerId="ADAL" clId="{9529EF36-EC4D-4EAD-9F6F-BD13F4865B42}" dt="2025-07-01T16:31:05.934" v="5611" actId="20577"/>
        <pc:sldMkLst>
          <pc:docMk/>
          <pc:sldMk cId="2444738140" sldId="2147375236"/>
        </pc:sldMkLst>
        <pc:spChg chg="mod ord">
          <ac:chgData name="Andy Nicholls" userId="f3a83628-1c02-41d9-82d2-b3f17fb20586" providerId="ADAL" clId="{9529EF36-EC4D-4EAD-9F6F-BD13F4865B42}" dt="2025-06-19T16:57:52.707" v="1219" actId="700"/>
          <ac:spMkLst>
            <pc:docMk/>
            <pc:sldMk cId="2444738140" sldId="2147375236"/>
            <ac:spMk id="3" creationId="{83F87ABE-AC2C-3DEE-2AAD-C7D9CECB028D}"/>
          </ac:spMkLst>
        </pc:spChg>
        <pc:spChg chg="mod ord">
          <ac:chgData name="Andy Nicholls" userId="f3a83628-1c02-41d9-82d2-b3f17fb20586" providerId="ADAL" clId="{9529EF36-EC4D-4EAD-9F6F-BD13F4865B42}" dt="2025-06-19T16:57:52.707" v="1219" actId="700"/>
          <ac:spMkLst>
            <pc:docMk/>
            <pc:sldMk cId="2444738140" sldId="2147375236"/>
            <ac:spMk id="4" creationId="{7540F7A9-141A-F91F-A543-A223233E9B18}"/>
          </ac:spMkLst>
        </pc:spChg>
        <pc:spChg chg="add mod ord">
          <ac:chgData name="Andy Nicholls" userId="f3a83628-1c02-41d9-82d2-b3f17fb20586" providerId="ADAL" clId="{9529EF36-EC4D-4EAD-9F6F-BD13F4865B42}" dt="2025-06-19T16:58:11.521" v="1247" actId="5793"/>
          <ac:spMkLst>
            <pc:docMk/>
            <pc:sldMk cId="2444738140" sldId="2147375236"/>
            <ac:spMk id="9" creationId="{FD3F46E3-D8A1-3E9C-11A7-A1529A4283A4}"/>
          </ac:spMkLst>
        </pc:spChg>
        <pc:picChg chg="add mod ord modCrop">
          <ac:chgData name="Andy Nicholls" userId="f3a83628-1c02-41d9-82d2-b3f17fb20586" providerId="ADAL" clId="{9529EF36-EC4D-4EAD-9F6F-BD13F4865B42}" dt="2025-06-19T16:57:39.368" v="1218" actId="167"/>
          <ac:picMkLst>
            <pc:docMk/>
            <pc:sldMk cId="2444738140" sldId="2147375236"/>
            <ac:picMk id="8" creationId="{E3645C9B-64BC-D876-F18D-3290EFF44A77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C5DC5B-BF83-D0F8-F17D-E458477D6A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A5C446-58AD-F05A-78BC-F13AD7A39D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FE7CBA-E269-484E-BC88-4EF08BDBC0FE}" type="datetimeFigureOut">
              <a:rPr lang="en-GB" smtClean="0"/>
              <a:t>03/07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AEC85-53EE-AA3F-A105-CB67500BDB5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DCF5B-A081-B9F4-9E5F-FDA0297F20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9F402-05D6-4C19-804E-80C8EBA9A7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692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50A8971-52B8-4C5A-99D8-986A596F2912}" type="datetimeFigureOut">
              <a:rPr lang="en-GB" smtClean="0"/>
              <a:pPr/>
              <a:t>03/07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26B53C8-14E4-49A7-A1A5-3BF810B81EB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03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autical theme</a:t>
            </a:r>
          </a:p>
          <a:p>
            <a:r>
              <a:rPr lang="en-GB" dirty="0"/>
              <a:t>Presenting GSK’s story: where we went after training everyon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4119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raining largely a success.  What next?</a:t>
            </a:r>
          </a:p>
          <a:p>
            <a:r>
              <a:rPr lang="en-GB" dirty="0"/>
              <a:t>How do we actually get people using 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404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eed their enthusiasm</a:t>
            </a:r>
          </a:p>
          <a:p>
            <a:r>
              <a:rPr lang="en-GB" dirty="0"/>
              <a:t>Need them to set the example</a:t>
            </a:r>
          </a:p>
          <a:p>
            <a:endParaRPr lang="en-GB" dirty="0"/>
          </a:p>
          <a:p>
            <a:r>
              <a:rPr lang="en-GB" dirty="0"/>
              <a:t>How did we engag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33395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bour intensive approach.  Work side by side with a few early adopters and make their journey a positive one!</a:t>
            </a:r>
          </a:p>
          <a:p>
            <a:r>
              <a:rPr lang="en-GB" dirty="0"/>
              <a:t>…</a:t>
            </a:r>
          </a:p>
          <a:p>
            <a:r>
              <a:rPr lang="en-GB" dirty="0"/>
              <a:t>Review code because you don’t learn good practice from training.</a:t>
            </a:r>
          </a:p>
          <a:p>
            <a:r>
              <a:rPr lang="en-GB" dirty="0"/>
              <a:t>And we wanted to share templates for oth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62483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16DA9-5E5F-007A-C937-4B258FF0C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8B0D0F-0AE8-FC6D-6205-5289CCC3C3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640B02-3B1B-80BF-DBA2-14B574F398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D62B9-E02C-45E4-1228-F5D546B01E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11496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A379E-BFCE-2C35-3D85-583247D91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A286D5-4B87-26CA-7BDA-8A2229C953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F53752-D87F-F79E-3CF2-1AF792E205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are always other things</a:t>
            </a:r>
          </a:p>
          <a:p>
            <a:r>
              <a:rPr lang="en-GB" dirty="0"/>
              <a:t>In our case, move to R was an opportunity to improve reporting tools – separate actual analysis from formatting of results</a:t>
            </a:r>
          </a:p>
          <a:p>
            <a:r>
              <a:rPr lang="en-GB" dirty="0"/>
              <a:t>GitHub part of the mindset, agile we could dro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91BDA-A58D-0D6B-5880-7E93F358C5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22727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F88C6-1D37-7B85-0FEE-5CDD36F33C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AD9B75-5D51-63E7-4605-497263BF4C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CB8F31-0142-8441-FF60-45EE9DE78B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tarted out with teams </a:t>
            </a:r>
            <a:r>
              <a:rPr lang="en-GB" dirty="0" err="1"/>
              <a:t>hsowing</a:t>
            </a:r>
            <a:r>
              <a:rPr lang="en-GB" dirty="0"/>
              <a:t> them how, but realised tat sometimes it was not going to be possible without building more tools / changing our proces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3B36C-FD6E-A4A5-51BA-6C4EC40D2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4397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We ask teams to work in a frozen environment as a way of managing packages.  Frozen = cannot install anyt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We worked with an oncology team wanting to use admiral, a </a:t>
            </a:r>
            <a:r>
              <a:rPr lang="en-US" dirty="0" err="1"/>
              <a:t>pharmaverse</a:t>
            </a:r>
            <a:r>
              <a:rPr lang="en-US" dirty="0"/>
              <a:t> package for creating </a:t>
            </a:r>
            <a:r>
              <a:rPr lang="en-US" dirty="0" err="1"/>
              <a:t>adam</a:t>
            </a:r>
            <a:r>
              <a:rPr lang="en-US" dirty="0"/>
              <a:t> data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y said, ideally, we want to work with </a:t>
            </a:r>
            <a:r>
              <a:rPr lang="en-US" dirty="0" err="1"/>
              <a:t>admiralonco</a:t>
            </a:r>
            <a:r>
              <a:rPr lang="en-US" dirty="0"/>
              <a:t> as that has some oncology-specific functionality</a:t>
            </a:r>
          </a:p>
          <a:p>
            <a:pPr marL="285750" indent="-285750">
              <a:buFontTx/>
              <a:buChar char="-"/>
            </a:pPr>
            <a:r>
              <a:rPr lang="en-US" dirty="0"/>
              <a:t>This was coming in the next release but not available now.</a:t>
            </a:r>
          </a:p>
          <a:p>
            <a:pPr marL="285750" indent="-285750">
              <a:buFontTx/>
              <a:buChar char="-"/>
            </a:pPr>
            <a:r>
              <a:rPr lang="en-US" dirty="0"/>
              <a:t>Based on what study teams were being told at the time, this meant having to wait.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We started looking at </a:t>
            </a:r>
            <a:r>
              <a:rPr lang="en-US" dirty="0" err="1"/>
              <a:t>renv</a:t>
            </a:r>
            <a:r>
              <a:rPr lang="en-US" dirty="0"/>
              <a:t> but team felt it would be difficult to use.  So we worked with them to pioneer a new package called slushy (designed to give flexibility in frozen environments)</a:t>
            </a:r>
          </a:p>
          <a:p>
            <a:pPr marL="285750" indent="-285750">
              <a:buFontTx/>
              <a:buChar char="-"/>
            </a:pPr>
            <a:r>
              <a:rPr lang="en-US" dirty="0"/>
              <a:t>This works on snapshots that they could update over time to add in new packages, eventually updating to match the next frozen environment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6761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id 2024, all tools built.  Could improve.  Or maybe we could try something els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70353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3 months early this year, started starburst</a:t>
            </a:r>
          </a:p>
          <a:p>
            <a:r>
              <a:rPr lang="en-GB" dirty="0"/>
              <a:t>“burst” because it was 3 months, “STAR” because by this point we’d named our push to R in line with other space too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8766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 req per day, but took time to build</a:t>
            </a:r>
          </a:p>
          <a:p>
            <a:r>
              <a:rPr lang="en-US" dirty="0"/>
              <a:t>We knew that do decided to blog</a:t>
            </a:r>
          </a:p>
          <a:p>
            <a:r>
              <a:rPr lang="en-US" dirty="0"/>
              <a:t>Blog because it’s quicker than formal docs which can get stuck in review as we try to make them perfect</a:t>
            </a:r>
          </a:p>
          <a:p>
            <a:endParaRPr lang="en-US" dirty="0"/>
          </a:p>
          <a:p>
            <a:r>
              <a:rPr lang="en-US" dirty="0"/>
              <a:t>Went well, +</a:t>
            </a:r>
            <a:r>
              <a:rPr lang="en-US" dirty="0" err="1"/>
              <a:t>ve</a:t>
            </a:r>
            <a:r>
              <a:rPr lang="en-US" dirty="0"/>
              <a:t> feedbac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0069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t the scene</a:t>
            </a:r>
          </a:p>
          <a:p>
            <a:endParaRPr lang="en-GB" dirty="0"/>
          </a:p>
          <a:p>
            <a:r>
              <a:rPr lang="en-GB" dirty="0"/>
              <a:t>1st change: over night</a:t>
            </a:r>
          </a:p>
          <a:p>
            <a:r>
              <a:rPr lang="en-GB" dirty="0"/>
              <a:t>2</a:t>
            </a:r>
            <a:r>
              <a:rPr lang="en-GB" baseline="30000" dirty="0"/>
              <a:t>nd</a:t>
            </a:r>
            <a:r>
              <a:rPr lang="en-GB" dirty="0"/>
              <a:t> = ending this year, on targ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26393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nished May</a:t>
            </a:r>
          </a:p>
          <a:p>
            <a:r>
              <a:rPr lang="en-GB" dirty="0"/>
              <a:t>Rolled back blog to more ad-hoc to focus on documentation</a:t>
            </a:r>
          </a:p>
          <a:p>
            <a:r>
              <a:rPr lang="en-GB" dirty="0"/>
              <a:t>Documentation focussed on repeat requests to reduce these</a:t>
            </a:r>
          </a:p>
          <a:p>
            <a:r>
              <a:rPr lang="en-GB" dirty="0"/>
              <a:t>Point people to docs more but not strictly saying ‘no’ yet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07816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at is actually a bo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47846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s </a:t>
            </a:r>
            <a:r>
              <a:rPr lang="en-GB"/>
              <a:t>per slide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143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spiration for nautical theme is that we can break down our user-focussed adoption approach into distinct wa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1881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780D3-A80B-24A1-E0DE-B97347CC8B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DF4BE5-40A3-76D6-A857-B9B72C2AD2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A0581A-0D89-C51C-53E4-14E46827F5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esented in Posit webinar w/ Ben/Becca</a:t>
            </a:r>
          </a:p>
          <a:p>
            <a:r>
              <a:rPr lang="en-GB" dirty="0"/>
              <a:t>Focus here is on training / user support *but* in change management *all* needs to align</a:t>
            </a:r>
          </a:p>
          <a:p>
            <a:endParaRPr lang="en-GB" dirty="0"/>
          </a:p>
          <a:p>
            <a:r>
              <a:rPr lang="en-GB" dirty="0"/>
              <a:t>Wave 0: Ad-hoc</a:t>
            </a:r>
          </a:p>
          <a:p>
            <a:r>
              <a:rPr lang="en-GB" dirty="0"/>
              <a:t>Wave 1: Everyone does</a:t>
            </a:r>
          </a:p>
          <a:p>
            <a:r>
              <a:rPr lang="en-GB" dirty="0"/>
              <a:t>Wave 2: Focus on what we did</a:t>
            </a:r>
          </a:p>
          <a:p>
            <a:r>
              <a:rPr lang="en-GB" dirty="0"/>
              <a:t>Wave 3 = surprise for you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083B-237B-91B6-C66D-A2D7C7A42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27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tart where everyone starts with mass trai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3900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6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Usual, with a </a:t>
            </a:r>
            <a:r>
              <a:rPr lang="en-GB" sz="1600" b="0" i="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idyverse</a:t>
            </a:r>
            <a:r>
              <a:rPr lang="en-GB" sz="16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focus</a:t>
            </a:r>
          </a:p>
          <a:p>
            <a:r>
              <a:rPr lang="en-GB" sz="16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2F but we wrote markdown/quarto which helped later when virtual</a:t>
            </a:r>
          </a:p>
          <a:p>
            <a:endParaRPr lang="en-GB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23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ether people like the training or they want an excuse not to learn R, they want more</a:t>
            </a:r>
          </a:p>
          <a:p>
            <a:r>
              <a:rPr lang="en-GB" dirty="0"/>
              <a:t>Could go into detail as to whether that’s right.  Generally we felt no.  </a:t>
            </a:r>
          </a:p>
          <a:p>
            <a:r>
              <a:rPr lang="en-GB" dirty="0"/>
              <a:t>Open-source way is much more about self-ser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61928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728CA-A2F7-03CA-D420-04B1B27FF8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CB1376-27C5-6DF9-3F85-04A9EE3B70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0DE8BB-3401-9F89-DD3C-AC2A1976C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problem with ‘advanced training’ is it means something different to everyone</a:t>
            </a:r>
          </a:p>
          <a:p>
            <a:endParaRPr lang="en-GB" dirty="0"/>
          </a:p>
          <a:p>
            <a:r>
              <a:rPr lang="en-GB" dirty="0"/>
              <a:t>We told everyone to read up online, </a:t>
            </a:r>
            <a:r>
              <a:rPr lang="en-GB" dirty="0" err="1"/>
              <a:t>eg</a:t>
            </a:r>
            <a:r>
              <a:rPr lang="en-GB" dirty="0"/>
              <a:t> read Hadley’s advanced R book</a:t>
            </a:r>
          </a:p>
          <a:p>
            <a:r>
              <a:rPr lang="en-GB" dirty="0"/>
              <a:t>But they are used to </a:t>
            </a:r>
            <a:r>
              <a:rPr lang="en-GB" dirty="0" err="1"/>
              <a:t>GxP</a:t>
            </a:r>
            <a:r>
              <a:rPr lang="en-GB" dirty="0"/>
              <a:t> training where they sign off in a system to say “I’ve done my training”</a:t>
            </a:r>
          </a:p>
          <a:p>
            <a:r>
              <a:rPr lang="en-GB" dirty="0"/>
              <a:t>Change challenge: Need to shift the mindset to open-source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What did we do?..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ED6CE-307D-39D6-913D-914950CE83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269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il tankers are renowned for not changing direction easily.  </a:t>
            </a:r>
          </a:p>
          <a:p>
            <a:r>
              <a:rPr lang="en-GB" dirty="0"/>
              <a:t>People work in </a:t>
            </a:r>
            <a:r>
              <a:rPr lang="en-GB" dirty="0" err="1"/>
              <a:t>GxP</a:t>
            </a:r>
            <a:r>
              <a:rPr lang="en-GB" dirty="0"/>
              <a:t> and are used to signing off to say they’ve read the SOP</a:t>
            </a:r>
          </a:p>
          <a:p>
            <a:r>
              <a:rPr lang="en-GB" dirty="0"/>
              <a:t>Concede water – give them a bit of what they want, stand true in some area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532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svg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15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E730EF-2ADF-F2EE-3385-DFE2929A2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E730EF-2ADF-F2EE-3385-DFE2929A2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68889F4-99D5-C4D7-F0A7-1D0B9BD3F93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6174A64-5B94-1C65-071E-17BF59F9F083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C5EB409-F04C-F34E-2784-56F55DA5C7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pic>
        <p:nvPicPr>
          <p:cNvPr id="10" name="Picture 9" descr="Icon&#10;&#10;Description automatically generated with medium confidence">
            <a:extLst>
              <a:ext uri="{FF2B5EF4-FFF2-40B4-BE49-F238E27FC236}">
                <a16:creationId xmlns:a16="http://schemas.microsoft.com/office/drawing/2014/main" id="{AFA72B64-3B0D-5F16-E0A3-81BFBFF335F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2517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5768D83-B8CA-09C4-C389-ACE31191A4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916881" cy="4477804"/>
          </a:xfrm>
          <a:custGeom>
            <a:avLst/>
            <a:gdLst>
              <a:gd name="connsiteX0" fmla="*/ 167483 w 3916881"/>
              <a:gd name="connsiteY0" fmla="*/ 0 h 4477804"/>
              <a:gd name="connsiteX1" fmla="*/ 3485355 w 3916881"/>
              <a:gd name="connsiteY1" fmla="*/ 0 h 4477804"/>
              <a:gd name="connsiteX2" fmla="*/ 3652838 w 3916881"/>
              <a:gd name="connsiteY2" fmla="*/ 167483 h 4477804"/>
              <a:gd name="connsiteX3" fmla="*/ 3652838 w 3916881"/>
              <a:gd name="connsiteY3" fmla="*/ 517226 h 4477804"/>
              <a:gd name="connsiteX4" fmla="*/ 3912021 w 3916881"/>
              <a:gd name="connsiteY4" fmla="*/ 791524 h 4477804"/>
              <a:gd name="connsiteX5" fmla="*/ 3912021 w 3916881"/>
              <a:gd name="connsiteY5" fmla="*/ 802323 h 4477804"/>
              <a:gd name="connsiteX6" fmla="*/ 3652838 w 3916881"/>
              <a:gd name="connsiteY6" fmla="*/ 1076623 h 4477804"/>
              <a:gd name="connsiteX7" fmla="*/ 3652838 w 3916881"/>
              <a:gd name="connsiteY7" fmla="*/ 4310321 h 4477804"/>
              <a:gd name="connsiteX8" fmla="*/ 3485355 w 3916881"/>
              <a:gd name="connsiteY8" fmla="*/ 4477804 h 4477804"/>
              <a:gd name="connsiteX9" fmla="*/ 167483 w 3916881"/>
              <a:gd name="connsiteY9" fmla="*/ 4477804 h 4477804"/>
              <a:gd name="connsiteX10" fmla="*/ 0 w 3916881"/>
              <a:gd name="connsiteY10" fmla="*/ 4310321 h 4477804"/>
              <a:gd name="connsiteX11" fmla="*/ 0 w 3916881"/>
              <a:gd name="connsiteY11" fmla="*/ 167483 h 4477804"/>
              <a:gd name="connsiteX12" fmla="*/ 167483 w 3916881"/>
              <a:gd name="connsiteY12" fmla="*/ 0 h 4477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16881" h="4477804">
                <a:moveTo>
                  <a:pt x="167483" y="0"/>
                </a:moveTo>
                <a:lnTo>
                  <a:pt x="3485355" y="0"/>
                </a:lnTo>
                <a:cubicBezTo>
                  <a:pt x="3577853" y="0"/>
                  <a:pt x="3652838" y="74985"/>
                  <a:pt x="3652838" y="167483"/>
                </a:cubicBezTo>
                <a:lnTo>
                  <a:pt x="3652838" y="517226"/>
                </a:lnTo>
                <a:cubicBezTo>
                  <a:pt x="3652838" y="659776"/>
                  <a:pt x="3745710" y="746167"/>
                  <a:pt x="3912021" y="791524"/>
                </a:cubicBezTo>
                <a:cubicBezTo>
                  <a:pt x="3918501" y="793683"/>
                  <a:pt x="3918501" y="800164"/>
                  <a:pt x="3912021" y="802323"/>
                </a:cubicBezTo>
                <a:cubicBezTo>
                  <a:pt x="3745710" y="847679"/>
                  <a:pt x="3652838" y="934073"/>
                  <a:pt x="3652838" y="1076623"/>
                </a:cubicBezTo>
                <a:lnTo>
                  <a:pt x="3652838" y="4310321"/>
                </a:lnTo>
                <a:cubicBezTo>
                  <a:pt x="3652838" y="4402819"/>
                  <a:pt x="3577853" y="4477804"/>
                  <a:pt x="3485355" y="4477804"/>
                </a:cubicBezTo>
                <a:lnTo>
                  <a:pt x="167483" y="4477804"/>
                </a:lnTo>
                <a:cubicBezTo>
                  <a:pt x="74985" y="4477804"/>
                  <a:pt x="0" y="4402819"/>
                  <a:pt x="0" y="4310321"/>
                </a:cubicBezTo>
                <a:lnTo>
                  <a:pt x="0" y="167483"/>
                </a:lnTo>
                <a:cubicBezTo>
                  <a:pt x="0" y="74985"/>
                  <a:pt x="74985" y="0"/>
                  <a:pt x="16748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36000" tIns="36000" rIns="360000" bIns="36000">
            <a:noAutofit/>
          </a:bodyPr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 marL="35754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2pPr>
            <a:lvl3pPr marL="719982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3pPr>
            <a:lvl4pPr marL="108142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 marL="1439964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AEA03D-D3A8-FC8F-37D0-7EAB8EC481E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743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14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19100" y="1454538"/>
            <a:ext cx="549365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277344" y="1454538"/>
            <a:ext cx="5493600" cy="781200"/>
          </a:xfrm>
          <a:prstGeom prst="rect">
            <a:avLst/>
          </a:prstGeom>
        </p:spPr>
        <p:txBody>
          <a:bodyPr wrap="square"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E7A351A-B15B-3DA1-263F-714BB743255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75636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E10F851-9956-BDE2-1DA3-0125BE310B9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69597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91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39840176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50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The image can then be scaled within the frame by using the ‘Crop’ feature in the ‘Picture Format’ tab of the ribbon.</a:t>
            </a:r>
            <a:r>
              <a:rPr lang="en-US" dirty="0"/>
              <a:t>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35E16B8-17D3-543D-006C-0A00D7BCD6B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3490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54CC1B-BB75-5C08-0EF4-4609414315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54CC1B-BB75-5C08-0EF4-460941431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9A05D5A-9CCC-5188-4E3A-BF14F2F8413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3158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AC5B506-7665-AFF6-5244-82648A658A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02325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A4A6B2A-6054-FB98-6941-36A9785D96EC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16993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96294BD-73D4-ECCE-653C-2F2D34CF4FB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1665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subheading text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5840FC4-EF91-6057-D142-8946C40663E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910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5F83A6-67EC-BF30-F3AD-7891EB5F2F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5F83A6-67EC-BF30-F3AD-7891EB5F2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357E4C88-FB78-C0EB-6CA2-6DB87B6473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0E51AA2-DEA8-2D1B-54F8-4EE8EBF4ABFD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8D691E-620B-C251-3069-82DAB53E7FE8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920F982-80BA-58FA-0389-6CA3EEEAB0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96749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FB077E6-A497-BD51-F093-6A35A273C6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5F2231-75A7-6D5A-D43A-D1ED0047240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03 July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CF624C-160E-52EF-3483-12862F50406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0A9B30-F0E9-652B-90C7-E06150BF593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9232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Clr>
                <a:schemeClr val="tx2"/>
              </a:buClr>
              <a:buFont typeface="Arial" panose="020B0604020202020204" pitchFamily="34" charset="0"/>
              <a:buNone/>
              <a:defRPr/>
            </a:lvl1pPr>
            <a:lvl2pPr marL="357542" indent="0">
              <a:buClr>
                <a:schemeClr val="tx1"/>
              </a:buClr>
              <a:buFont typeface="Arial" panose="020B0604020202020204" pitchFamily="34" charset="0"/>
              <a:buNone/>
              <a:defRPr/>
            </a:lvl2pPr>
            <a:lvl3pPr marL="719982" indent="0">
              <a:buClr>
                <a:schemeClr val="tx1"/>
              </a:buClr>
              <a:buFont typeface="Arial" panose="020B0604020202020204" pitchFamily="34" charset="0"/>
              <a:buNone/>
              <a:defRPr/>
            </a:lvl3pPr>
            <a:lvl4pPr marL="1081424" indent="0">
              <a:buClr>
                <a:schemeClr val="tx1"/>
              </a:buClr>
              <a:buFont typeface="Arial" panose="020B0604020202020204" pitchFamily="34" charset="0"/>
              <a:buNone/>
              <a:defRPr/>
            </a:lvl4pPr>
            <a:lvl5pPr marL="1439964" indent="0">
              <a:buClr>
                <a:schemeClr val="tx1"/>
              </a:buCl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892829F7-D00B-D1D9-8C3F-B46975A49CE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3AC7EC-E84D-2407-60E1-83539276824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pPr/>
              <a:t>03 July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28C160-158E-CE9D-E508-486DA74359F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AA66F-C438-CF40-4530-502E5013C27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13714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TABLE icon to insert table.]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FC215B3-1FB2-8234-43A0-F10081D89FE6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19732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36000" rIns="36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[Click CHART icons to insert chart.]</a:t>
            </a:r>
            <a:br>
              <a:rPr lang="en-GB" dirty="0"/>
            </a:br>
            <a:r>
              <a:rPr lang="en-US" dirty="0"/>
              <a:t>Please ensure your chart title, legend, x and y axis titles are minimum 12 pt, GSK Precision black for accessibility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617660-F2DC-E09E-FCD2-2D56713F40B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33488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627EE7-29BC-7E7B-5DF4-1D96E07AD3F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91021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54C983F-C815-9C16-5CEE-1598AF9E136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A0315B-927F-FC0E-1112-321AD19AB5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328" t="12162" r="1499" b="12843"/>
          <a:stretch/>
        </p:blipFill>
        <p:spPr>
          <a:xfrm>
            <a:off x="10847037" y="6191252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13274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8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35104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65F7C9-2DD0-029B-C39C-E172165AB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65F7C9-2DD0-029B-C39C-E172165AB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3C8C0300-5E34-01FA-8DA8-816FE17514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89196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74C1E3-F673-6C02-80D2-918CC00E2B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74C1E3-F673-6C02-80D2-918CC00E2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B5553F47-A3E3-7613-63E9-F408F27A9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11872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A31EE88-6D6C-D069-3146-A339C96016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445B33E-2C66-175D-1B1C-7BB81E21C5EE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7BF19C8-4ECE-0C1F-50D8-D1CBA75107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9265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768B13C-C35B-6F45-C01B-3C6267B26CED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7EAF8D-F928-6A87-2D9C-669CBF910AF3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55555DC-AF4D-D959-E8F8-8DAA516CC47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3E07F268-9821-E4F1-853E-B3387EEA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0517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971DFFD-2455-676B-AE64-9BFFC5437EDC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9D3E439-CEEB-5A25-B0DB-B35AA868A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5689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oes XXX have further input on the proposals set out or require additional information?</a:t>
            </a:r>
            <a:br>
              <a:rPr lang="en-US" dirty="0"/>
            </a:br>
            <a:r>
              <a:rPr lang="en-US" dirty="0"/>
              <a:t>Is XXX supportive of the recommendation to x, y, z?</a:t>
            </a:r>
            <a:br>
              <a:rPr lang="en-US" dirty="0"/>
            </a:br>
            <a:r>
              <a:rPr lang="en-US" dirty="0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9A99C6-B235-2720-3500-EE89CB56CE50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9E051E-8049-FCFD-A54B-E240AC53D1B2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E8FC5E-A678-F4F9-6FC7-EEAB2E69AF78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5B3DF6-C945-56A1-A6D2-AC4E6E31179A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88839E-C216-4873-F020-A965C577DAF8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D1E881-0EAE-876E-66F9-7BE9CD740E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B4A7AA8-50D7-2FFC-F51D-207317C17D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03991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4068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 dirty="0"/>
              <a:t>Agenda point 1, add text here.</a:t>
            </a:r>
            <a:br>
              <a:rPr lang="en-GB" dirty="0"/>
            </a:br>
            <a:r>
              <a:rPr lang="en-GB" dirty="0"/>
              <a:t>Agenda point 2, add text here.</a:t>
            </a:r>
            <a:br>
              <a:rPr lang="en-GB" dirty="0"/>
            </a:br>
            <a:r>
              <a:rPr lang="en-GB" dirty="0"/>
              <a:t>Agenda point 3, add text here.</a:t>
            </a:r>
            <a:br>
              <a:rPr lang="en-GB" dirty="0"/>
            </a:br>
            <a:r>
              <a:rPr lang="en-GB" dirty="0"/>
              <a:t>Agenda point 4, add text here.</a:t>
            </a:r>
            <a:br>
              <a:rPr lang="en-GB" dirty="0"/>
            </a:br>
            <a:r>
              <a:rPr lang="en-GB" dirty="0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6F1642B-8EED-A6CF-BBC5-B42CE4EBF309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1294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outside of grey holder please reduce the size of the font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0002D55-6A06-5683-C312-CA5DFDAEEB1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32701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 </a:t>
            </a:r>
            <a:br>
              <a:rPr lang="en-US" dirty="0"/>
            </a:br>
            <a:r>
              <a:rPr lang="en-US" dirty="0"/>
              <a:t>If text content appears too large please reduce the size of this font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CA69924-8312-93A7-5F21-75AD30BAD2D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618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 dirty="0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B1F1611-ED93-9CD1-6AD6-199DF0E35EE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806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97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36000" tIns="90000" rIns="36000" bIns="36000">
            <a:noAutofit/>
          </a:bodyPr>
          <a:lstStyle>
            <a:lvl1pPr marL="0" indent="0">
              <a:buNone/>
              <a:defRPr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B8038B8-901B-5BEE-8CE6-19D62D27912A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3616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5" imgH="424" progId="TCLayout.ActiveDocument.1">
                  <p:embed/>
                </p:oleObj>
              </mc:Choice>
              <mc:Fallback>
                <p:oleObj name="think-cell Slide" r:id="rId3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7963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5125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931069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03 July 2025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GB" dirty="0"/>
              <a:t>To increase bullet level, select your text &gt; press ‘Tab’.</a:t>
            </a:r>
            <a:br>
              <a:rPr lang="en-GB" dirty="0"/>
            </a:br>
            <a:r>
              <a:rPr lang="en-GB" dirty="0"/>
              <a:t>To decrease bullet level, select your text &gt; press ‘Shift’ + ‘Tab’.</a:t>
            </a:r>
            <a:br>
              <a:rPr lang="en-GB" dirty="0"/>
            </a:br>
            <a:r>
              <a:rPr lang="en-GB" dirty="0"/>
              <a:t>To remove bullet levels, select your text &gt; right click &gt; press ‘bullets’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4"/>
            <a:endParaRPr lang="en-GB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282CB4-0FD8-B104-9321-BA11F0350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5" imgH="424" progId="TCLayout.ActiveDocument.1">
                  <p:embed/>
                </p:oleObj>
              </mc:Choice>
              <mc:Fallback>
                <p:oleObj name="think-cell Slide" r:id="rId3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282CB4-0FD8-B104-9321-BA11F0350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46234870-212E-CA77-79F1-894C23EE15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004551" y="6354213"/>
            <a:ext cx="820737" cy="247406"/>
          </a:xfrm>
          <a:prstGeom prst="rect">
            <a:avLst/>
          </a:prstGeom>
        </p:spPr>
      </p:pic>
    </p:spTree>
    <p:custDataLst>
      <p:tags r:id="rId32"/>
    </p:custDataLst>
    <p:extLst>
      <p:ext uri="{BB962C8B-B14F-4D97-AF65-F5344CB8AC3E}">
        <p14:creationId xmlns:p14="http://schemas.microsoft.com/office/powerpoint/2010/main" val="3442277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  <p:sldLayoutId id="2147483817" r:id="rId29"/>
    <p:sldLayoutId id="2147483818" r:id="rId30"/>
  </p:sldLayoutIdLs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8">
          <p15:clr>
            <a:srgbClr val="A6A6A6"/>
          </p15:clr>
        </p15:guide>
        <p15:guide id="29" pos="7680">
          <p15:clr>
            <a:srgbClr val="A6A6A6"/>
          </p15:clr>
        </p15:guide>
        <p15:guide id="30" pos="230">
          <p15:clr>
            <a:srgbClr val="A6A6A6"/>
          </p15:clr>
        </p15:guide>
        <p15:guide id="31" pos="1301">
          <p15:clr>
            <a:srgbClr val="A6A6A6"/>
          </p15:clr>
        </p15:guide>
        <p15:guide id="32" pos="1461">
          <p15:clr>
            <a:srgbClr val="A6A6A6"/>
          </p15:clr>
        </p15:guide>
        <p15:guide id="33" pos="2531">
          <p15:clr>
            <a:srgbClr val="A6A6A6"/>
          </p15:clr>
        </p15:guide>
        <p15:guide id="34" pos="2690">
          <p15:clr>
            <a:srgbClr val="A6A6A6"/>
          </p15:clr>
        </p15:guide>
        <p15:guide id="35" pos="3759">
          <p15:clr>
            <a:srgbClr val="A6A6A6"/>
          </p15:clr>
        </p15:guide>
        <p15:guide id="36" pos="3920">
          <p15:clr>
            <a:srgbClr val="A6A6A6"/>
          </p15:clr>
        </p15:guide>
        <p15:guide id="37" pos="4989">
          <p15:clr>
            <a:srgbClr val="A6A6A6"/>
          </p15:clr>
        </p15:guide>
        <p15:guide id="38" pos="5148">
          <p15:clr>
            <a:srgbClr val="A6A6A6"/>
          </p15:clr>
        </p15:guide>
        <p15:guide id="39" pos="6218">
          <p15:clr>
            <a:srgbClr val="A6A6A6"/>
          </p15:clr>
        </p15:guide>
        <p15:guide id="40" pos="6378">
          <p15:clr>
            <a:srgbClr val="A6A6A6"/>
          </p15:clr>
        </p15:guide>
        <p15:guide id="41" pos="7449">
          <p15:clr>
            <a:srgbClr val="A6A6A6"/>
          </p15:clr>
        </p15:guide>
        <p15:guide id="42" orient="horz">
          <p15:clr>
            <a:srgbClr val="A6A6A6"/>
          </p15:clr>
        </p15:guide>
        <p15:guide id="43" orient="horz" pos="4315">
          <p15:clr>
            <a:srgbClr val="A6A6A6"/>
          </p15:clr>
        </p15:guide>
        <p15:guide id="44" orient="horz" pos="153">
          <p15:clr>
            <a:srgbClr val="A6A6A6"/>
          </p15:clr>
        </p15:guide>
        <p15:guide id="45" orient="horz" pos="686">
          <p15:clr>
            <a:srgbClr val="A6A6A6"/>
          </p15:clr>
        </p15:guide>
        <p15:guide id="46" orient="horz" pos="821">
          <p15:clr>
            <a:srgbClr val="A6A6A6"/>
          </p15:clr>
        </p15:guide>
        <p15:guide id="47" orient="horz" pos="1323">
          <p15:clr>
            <a:srgbClr val="A6A6A6"/>
          </p15:clr>
        </p15:guide>
        <p15:guide id="48" orient="horz" pos="2330">
          <p15:clr>
            <a:srgbClr val="A6A6A6"/>
          </p15:clr>
        </p15:guide>
        <p15:guide id="49" orient="horz" pos="3335">
          <p15:clr>
            <a:srgbClr val="A6A6A6"/>
          </p15:clr>
        </p15:guide>
        <p15:guide id="50" orient="horz" pos="3838" userDrawn="1">
          <p15:clr>
            <a:srgbClr val="A6A6A6"/>
          </p15:clr>
        </p15:guide>
        <p15:guide id="51" orient="horz" pos="4166">
          <p15:clr>
            <a:srgbClr val="A6A6A6"/>
          </p15:clr>
        </p15:guide>
        <p15:guide id="52" orient="horz" pos="1827">
          <p15:clr>
            <a:srgbClr val="A4A3A4"/>
          </p15:clr>
        </p15:guide>
        <p15:guide id="53" orient="horz" pos="2832">
          <p15:clr>
            <a:srgbClr val="A4A3A4"/>
          </p15:clr>
        </p15:guide>
        <p15:guide id="54" orient="horz" pos="399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odernsailing.com/article/inside-the-sailing-gear-bag" TargetMode="External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8.png"/><Relationship Id="rId5" Type="http://schemas.openxmlformats.org/officeDocument/2006/relationships/image" Target="../media/image34.png"/><Relationship Id="rId4" Type="http://schemas.openxmlformats.org/officeDocument/2006/relationships/image" Target="../media/image3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odernsailing.com/article/inside-the-sailing-gear-bag" TargetMode="External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8.png"/><Relationship Id="rId5" Type="http://schemas.openxmlformats.org/officeDocument/2006/relationships/image" Target="../media/image34.png"/><Relationship Id="rId4" Type="http://schemas.openxmlformats.org/officeDocument/2006/relationships/image" Target="../media/image3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image" Target="../media/image41.png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jpeg"/><Relationship Id="rId4" Type="http://schemas.openxmlformats.org/officeDocument/2006/relationships/image" Target="../media/image42.svg"/><Relationship Id="rId9" Type="http://schemas.openxmlformats.org/officeDocument/2006/relationships/image" Target="../media/image47.svg"/><Relationship Id="rId14" Type="http://schemas.openxmlformats.org/officeDocument/2006/relationships/image" Target="../media/image5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Titanic_Dock,_Belfast_27.6.2013_CNV00012_%2810430813006%29.jpg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how-to-propose.com/en/column/article_4206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jpeg"/><Relationship Id="rId5" Type="http://schemas.openxmlformats.org/officeDocument/2006/relationships/image" Target="../media/image63.png"/><Relationship Id="rId4" Type="http://schemas.openxmlformats.org/officeDocument/2006/relationships/image" Target="../media/image6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svg"/><Relationship Id="rId9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5B6D45CA-A8D9-0F0F-BE3B-0FE55D2AE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12192"/>
            <a:ext cx="12192000" cy="6882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BC14ED-45EE-CBB2-2AD6-A650C1057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700" y="5438817"/>
            <a:ext cx="11150600" cy="548009"/>
          </a:xfrm>
        </p:spPr>
        <p:txBody>
          <a:bodyPr/>
          <a:lstStyle/>
          <a:p>
            <a:r>
              <a:rPr lang="en-GB" b="1" dirty="0"/>
              <a:t>From Training to Practice: A shift to Just in Time User Support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46F39C-F1F5-324F-DD88-E84D9A3C2B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0700" y="6001544"/>
            <a:ext cx="11150600" cy="475200"/>
          </a:xfrm>
        </p:spPr>
        <p:txBody>
          <a:bodyPr/>
          <a:lstStyle/>
          <a:p>
            <a:r>
              <a:rPr lang="en-GB" dirty="0"/>
              <a:t>Andy Nicholls, Senior Director, Head of Data Science Innovation and Engineer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46DC68-E073-4834-2872-E5BAC43327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July </a:t>
            </a:r>
            <a:r>
              <a:rPr lang="en-GB" dirty="0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752733-E121-3891-1FBC-9945B05F9552}"/>
              </a:ext>
            </a:extLst>
          </p:cNvPr>
          <p:cNvSpPr txBox="1"/>
          <p:nvPr/>
        </p:nvSpPr>
        <p:spPr>
          <a:xfrm>
            <a:off x="6146157" y="6609143"/>
            <a:ext cx="615590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dirty="0"/>
              <a:t>https://www.dlr.de/en/research-and-transfer/featured-topics/maritime-research/collision-avoidance-for-highly-automated-ships</a:t>
            </a:r>
          </a:p>
        </p:txBody>
      </p:sp>
    </p:spTree>
    <p:extLst>
      <p:ext uri="{BB962C8B-B14F-4D97-AF65-F5344CB8AC3E}">
        <p14:creationId xmlns:p14="http://schemas.microsoft.com/office/powerpoint/2010/main" val="10182619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9FE4DE-4150-A7C5-7895-86CA702F9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lorful wave at ocean">
            <a:extLst>
              <a:ext uri="{FF2B5EF4-FFF2-40B4-BE49-F238E27FC236}">
                <a16:creationId xmlns:a16="http://schemas.microsoft.com/office/drawing/2014/main" id="{F76050E6-FE46-F606-EB97-71B000A343C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AC2789-181F-1A99-B68E-3D0EED513A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92" y="160992"/>
            <a:ext cx="11150600" cy="548009"/>
          </a:xfrm>
        </p:spPr>
        <p:txBody>
          <a:bodyPr/>
          <a:lstStyle/>
          <a:p>
            <a:r>
              <a:rPr lang="en-GB" b="1" dirty="0">
                <a:solidFill>
                  <a:schemeClr val="bg1"/>
                </a:solidFill>
              </a:rPr>
              <a:t>Wave 2: Acceleration</a:t>
            </a:r>
          </a:p>
        </p:txBody>
      </p:sp>
    </p:spTree>
    <p:extLst>
      <p:ext uri="{BB962C8B-B14F-4D97-AF65-F5344CB8AC3E}">
        <p14:creationId xmlns:p14="http://schemas.microsoft.com/office/powerpoint/2010/main" val="3217885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wo girls sitting on wooden boat">
            <a:extLst>
              <a:ext uri="{FF2B5EF4-FFF2-40B4-BE49-F238E27FC236}">
                <a16:creationId xmlns:a16="http://schemas.microsoft.com/office/drawing/2014/main" id="{42EF3E69-F651-1B56-E543-7741EEA5DF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5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67F566F-3BFC-085E-F96E-27176120E0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700" y="3877734"/>
            <a:ext cx="3873500" cy="1681060"/>
          </a:xfrm>
        </p:spPr>
        <p:txBody>
          <a:bodyPr/>
          <a:lstStyle/>
          <a:p>
            <a:r>
              <a:rPr lang="en-GB" b="1" dirty="0"/>
              <a:t>Supporting the Early Adopters</a:t>
            </a:r>
          </a:p>
        </p:txBody>
      </p:sp>
    </p:spTree>
    <p:extLst>
      <p:ext uri="{BB962C8B-B14F-4D97-AF65-F5344CB8AC3E}">
        <p14:creationId xmlns:p14="http://schemas.microsoft.com/office/powerpoint/2010/main" val="10217206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F1C86DEA-A651-062D-B1FE-19E6CF31F0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8439" y="1923912"/>
            <a:ext cx="343515" cy="32382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E0A4861-77B2-373D-08B1-0CC6DCAE2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Image source: https://wwhidoha.com/dragon-boating-part-worlds-fastest-growing-water-sport-right-qatar/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707137E-7222-C8C6-1735-700697928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“</a:t>
            </a:r>
            <a:r>
              <a:rPr lang="en-GB" dirty="0" err="1"/>
              <a:t>AccelerateR</a:t>
            </a:r>
            <a:r>
              <a:rPr lang="en-GB" dirty="0"/>
              <a:t>”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BBD6B36-20B1-F641-7EFB-77AF8C7B31E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Side by side support</a:t>
            </a:r>
          </a:p>
        </p:txBody>
      </p:sp>
      <p:pic>
        <p:nvPicPr>
          <p:cNvPr id="1026" name="Picture 2" descr="Dragon Boating: Be part of the world's fastest growing water sport right  here in Qatar! - When, Where &amp; How in Doha">
            <a:extLst>
              <a:ext uri="{FF2B5EF4-FFF2-40B4-BE49-F238E27FC236}">
                <a16:creationId xmlns:a16="http://schemas.microsoft.com/office/drawing/2014/main" id="{F27333D8-0BF5-CE24-EFDE-4FF91727B5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1311844"/>
            <a:ext cx="3360417" cy="4480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BEAAF5C-DA85-5669-BD31-E5756914FEC8}"/>
              </a:ext>
            </a:extLst>
          </p:cNvPr>
          <p:cNvSpPr txBox="1">
            <a:spLocks/>
          </p:cNvSpPr>
          <p:nvPr/>
        </p:nvSpPr>
        <p:spPr>
          <a:xfrm>
            <a:off x="6913814" y="3874052"/>
            <a:ext cx="4970464" cy="816074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</p:spPr>
        <p:txBody>
          <a:bodyPr/>
          <a:lstStyle>
            <a:lvl1pPr marL="35999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3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7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41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995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Challenges guided by the team</a:t>
            </a:r>
          </a:p>
          <a:p>
            <a:pPr marL="0" indent="0">
              <a:buNone/>
            </a:pPr>
            <a:r>
              <a:rPr lang="en-GB" dirty="0"/>
              <a:t>Answer questions, review code</a:t>
            </a:r>
          </a:p>
          <a:p>
            <a:pPr marL="342900" indent="-342900"/>
            <a:endParaRPr lang="en-GB" dirty="0"/>
          </a:p>
        </p:txBody>
      </p:sp>
      <p:pic>
        <p:nvPicPr>
          <p:cNvPr id="1028" name="Picture 4" descr="2 Weeks icon SVG Vector &amp; PNG Free ...">
            <a:extLst>
              <a:ext uri="{FF2B5EF4-FFF2-40B4-BE49-F238E27FC236}">
                <a16:creationId xmlns:a16="http://schemas.microsoft.com/office/drawing/2014/main" id="{5DB2BBD9-4B7A-3B02-B98B-111E4E75D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422" y="2454946"/>
            <a:ext cx="1104401" cy="110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2 Weeks icon SVG Vector &amp; PNG Free ...">
            <a:extLst>
              <a:ext uri="{FF2B5EF4-FFF2-40B4-BE49-F238E27FC236}">
                <a16:creationId xmlns:a16="http://schemas.microsoft.com/office/drawing/2014/main" id="{336D22BC-9C8A-E2B6-5A08-F793EBE94A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907" y="2454945"/>
            <a:ext cx="1104401" cy="110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2 Weeks icon SVG Vector &amp; PNG Free ...">
            <a:extLst>
              <a:ext uri="{FF2B5EF4-FFF2-40B4-BE49-F238E27FC236}">
                <a16:creationId xmlns:a16="http://schemas.microsoft.com/office/drawing/2014/main" id="{0824B23D-9DA0-0F66-7F9B-A324B2BF8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392" y="2454944"/>
            <a:ext cx="1104401" cy="110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2 Weeks icon SVG Vector &amp; PNG Free ...">
            <a:extLst>
              <a:ext uri="{FF2B5EF4-FFF2-40B4-BE49-F238E27FC236}">
                <a16:creationId xmlns:a16="http://schemas.microsoft.com/office/drawing/2014/main" id="{0F9AF4A6-ECD7-4BDA-49AC-1CCC0A6108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877" y="2454944"/>
            <a:ext cx="1104401" cy="110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EC93785-2678-CB1F-692F-307B181E298A}"/>
              </a:ext>
            </a:extLst>
          </p:cNvPr>
          <p:cNvSpPr txBox="1">
            <a:spLocks/>
          </p:cNvSpPr>
          <p:nvPr/>
        </p:nvSpPr>
        <p:spPr>
          <a:xfrm>
            <a:off x="6913814" y="1311844"/>
            <a:ext cx="4970464" cy="464205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</p:spPr>
        <p:txBody>
          <a:bodyPr/>
          <a:lstStyle>
            <a:lvl1pPr marL="35999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3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7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41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995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Ensure common baseline</a:t>
            </a:r>
          </a:p>
        </p:txBody>
      </p:sp>
      <p:sp>
        <p:nvSpPr>
          <p:cNvPr id="16" name="Arrow: Chevron 8">
            <a:extLst>
              <a:ext uri="{FF2B5EF4-FFF2-40B4-BE49-F238E27FC236}">
                <a16:creationId xmlns:a16="http://schemas.microsoft.com/office/drawing/2014/main" id="{AC7E0305-BE22-9783-5400-3FCD15E53EEC}"/>
              </a:ext>
            </a:extLst>
          </p:cNvPr>
          <p:cNvSpPr/>
          <p:nvPr/>
        </p:nvSpPr>
        <p:spPr bwMode="auto">
          <a:xfrm>
            <a:off x="3968389" y="1311844"/>
            <a:ext cx="2576380" cy="464206"/>
          </a:xfrm>
          <a:prstGeom prst="chevron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Pre-requisites</a:t>
            </a:r>
          </a:p>
        </p:txBody>
      </p:sp>
      <p:sp>
        <p:nvSpPr>
          <p:cNvPr id="17" name="Arrow: Chevron 9">
            <a:extLst>
              <a:ext uri="{FF2B5EF4-FFF2-40B4-BE49-F238E27FC236}">
                <a16:creationId xmlns:a16="http://schemas.microsoft.com/office/drawing/2014/main" id="{5820DFC3-0D96-9760-41B0-FFFC5B06EF61}"/>
              </a:ext>
            </a:extLst>
          </p:cNvPr>
          <p:cNvSpPr/>
          <p:nvPr/>
        </p:nvSpPr>
        <p:spPr bwMode="auto">
          <a:xfrm>
            <a:off x="3968389" y="1905271"/>
            <a:ext cx="2576380" cy="464206"/>
          </a:xfrm>
          <a:prstGeom prst="chevron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On Boarding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920985B-8CE3-031F-8B02-E929C0EB4425}"/>
              </a:ext>
            </a:extLst>
          </p:cNvPr>
          <p:cNvSpPr txBox="1">
            <a:spLocks/>
          </p:cNvSpPr>
          <p:nvPr/>
        </p:nvSpPr>
        <p:spPr>
          <a:xfrm>
            <a:off x="6913814" y="1862461"/>
            <a:ext cx="4970464" cy="696364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</p:spPr>
        <p:txBody>
          <a:bodyPr/>
          <a:lstStyle>
            <a:lvl1pPr marL="35999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3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7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41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995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Identify (+ fill) knowledge gaps</a:t>
            </a:r>
          </a:p>
        </p:txBody>
      </p:sp>
      <p:sp>
        <p:nvSpPr>
          <p:cNvPr id="19" name="Arrow: Chevron 10">
            <a:extLst>
              <a:ext uri="{FF2B5EF4-FFF2-40B4-BE49-F238E27FC236}">
                <a16:creationId xmlns:a16="http://schemas.microsoft.com/office/drawing/2014/main" id="{881D248E-2C28-6418-3BAA-44CC5D31A252}"/>
              </a:ext>
            </a:extLst>
          </p:cNvPr>
          <p:cNvSpPr/>
          <p:nvPr/>
        </p:nvSpPr>
        <p:spPr bwMode="auto">
          <a:xfrm>
            <a:off x="3968389" y="2527108"/>
            <a:ext cx="2576380" cy="464206"/>
          </a:xfrm>
          <a:prstGeom prst="chevron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Deliver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70ED93D-6775-4272-38BD-1AD9AE674AB4}"/>
              </a:ext>
            </a:extLst>
          </p:cNvPr>
          <p:cNvSpPr txBox="1">
            <a:spLocks/>
          </p:cNvSpPr>
          <p:nvPr/>
        </p:nvSpPr>
        <p:spPr>
          <a:xfrm>
            <a:off x="6913814" y="4858475"/>
            <a:ext cx="4970464" cy="813762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</p:spPr>
        <p:txBody>
          <a:bodyPr/>
          <a:lstStyle>
            <a:lvl1pPr marL="35999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3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73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41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9955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Share templates for other teams</a:t>
            </a:r>
          </a:p>
        </p:txBody>
      </p:sp>
      <p:sp>
        <p:nvSpPr>
          <p:cNvPr id="24" name="Arrow: Chevron 11">
            <a:extLst>
              <a:ext uri="{FF2B5EF4-FFF2-40B4-BE49-F238E27FC236}">
                <a16:creationId xmlns:a16="http://schemas.microsoft.com/office/drawing/2014/main" id="{93FC2CC8-C928-F4BF-F336-224CFBE9C934}"/>
              </a:ext>
            </a:extLst>
          </p:cNvPr>
          <p:cNvSpPr/>
          <p:nvPr/>
        </p:nvSpPr>
        <p:spPr bwMode="auto">
          <a:xfrm>
            <a:off x="3968389" y="4834056"/>
            <a:ext cx="2576380" cy="464206"/>
          </a:xfrm>
          <a:prstGeom prst="chevron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400" b="1" kern="0">
                <a:solidFill>
                  <a:srgbClr val="FFFFFF"/>
                </a:solidFill>
                <a:latin typeface="Arial"/>
              </a:rPr>
              <a:t>Close Out</a:t>
            </a:r>
          </a:p>
        </p:txBody>
      </p:sp>
      <p:pic>
        <p:nvPicPr>
          <p:cNvPr id="3" name="Picture 2" descr="The Agile Development Process for Mobile Apps | Krasamo">
            <a:extLst>
              <a:ext uri="{FF2B5EF4-FFF2-40B4-BE49-F238E27FC236}">
                <a16:creationId xmlns:a16="http://schemas.microsoft.com/office/drawing/2014/main" id="{70634A3D-6AAF-EF7B-DCCA-C01634C777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1" r="19980"/>
          <a:stretch>
            <a:fillRect/>
          </a:stretch>
        </p:blipFill>
        <p:spPr bwMode="auto">
          <a:xfrm>
            <a:off x="11505452" y="1915822"/>
            <a:ext cx="375911" cy="34522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0441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6" grpId="0" animBg="1"/>
      <p:bldP spid="17" grpId="0" animBg="1"/>
      <p:bldP spid="18" grpId="0"/>
      <p:bldP spid="19" grpId="0" animBg="1"/>
      <p:bldP spid="23" grpId="0"/>
      <p:bldP spid="2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AA68F-A9CD-4932-BBFB-0B4D137CF5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20F1B5-C0FE-8BC9-10E9-C1C9193E34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90933" y="6382970"/>
            <a:ext cx="4797956" cy="323745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mage source: </a:t>
            </a:r>
            <a:r>
              <a:rPr lang="en-US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odernsailing.com/article/inside-the-sailing-gear-bag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A8947-F266-250B-2F04-2BBC462FF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Everything changes.  Always.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8DB138EA-220A-0460-7779-992B195009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Don’t be too ambitious!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CA03B02-89A6-A208-12C7-B6EF716C64F0}"/>
              </a:ext>
            </a:extLst>
          </p:cNvPr>
          <p:cNvSpPr txBox="1">
            <a:spLocks/>
          </p:cNvSpPr>
          <p:nvPr/>
        </p:nvSpPr>
        <p:spPr>
          <a:xfrm>
            <a:off x="1226891" y="5019414"/>
            <a:ext cx="9890592" cy="5480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b="1" dirty="0">
              <a:solidFill>
                <a:schemeClr val="accent2"/>
              </a:solidFill>
            </a:endParaRPr>
          </a:p>
        </p:txBody>
      </p:sp>
      <p:pic>
        <p:nvPicPr>
          <p:cNvPr id="9" name="Picture 2" descr="The Agile Development Process for Mobile Apps | Krasamo">
            <a:extLst>
              <a:ext uri="{FF2B5EF4-FFF2-40B4-BE49-F238E27FC236}">
                <a16:creationId xmlns:a16="http://schemas.microsoft.com/office/drawing/2014/main" id="{70F0D67A-43E3-0CCB-9D4A-66DBA67AA1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1" r="19980"/>
          <a:stretch>
            <a:fillRect/>
          </a:stretch>
        </p:blipFill>
        <p:spPr bwMode="auto">
          <a:xfrm>
            <a:off x="1426512" y="4052496"/>
            <a:ext cx="2458667" cy="22579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tx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22E0CDF4-7C14-C7AE-0451-25D085D4C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511" y="1421134"/>
            <a:ext cx="2458667" cy="23177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tx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B6F5DCA8-AD23-3034-3966-1B321BA301D9}"/>
              </a:ext>
            </a:extLst>
          </p:cNvPr>
          <p:cNvGrpSpPr/>
          <p:nvPr/>
        </p:nvGrpSpPr>
        <p:grpSpPr>
          <a:xfrm>
            <a:off x="4744280" y="1807354"/>
            <a:ext cx="6766931" cy="4424500"/>
            <a:chOff x="5024646" y="1899714"/>
            <a:chExt cx="6766931" cy="4424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8DD9706-194D-40F8-5617-62BD749D1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24646" y="1899714"/>
              <a:ext cx="6293306" cy="386300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chemeClr val="tx1">
                  <a:alpha val="65000"/>
                </a:schemeClr>
              </a:outerShdw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44CE358-425B-456C-2D9A-7732CEA734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820577" y="4066236"/>
              <a:ext cx="1971000" cy="22579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2902044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7B163D-30D9-FF1E-3A64-89885805BF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E54BF69-EA7D-FBD3-D1CB-84D0DFFEFE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90933" y="6382970"/>
            <a:ext cx="4797956" cy="323745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mage source: </a:t>
            </a:r>
            <a:r>
              <a:rPr lang="en-US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odernsailing.com/article/inside-the-sailing-gear-bag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BC0A2-A7D8-D5A3-83C4-B55EF621D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Everything changes.  Always.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4A58D6BA-0AC2-2AEC-444D-051876B6C5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Don’t be too ambitious!</a:t>
            </a:r>
          </a:p>
          <a:p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C62EA17-60FB-9EB8-88DE-AEBEF66590DF}"/>
              </a:ext>
            </a:extLst>
          </p:cNvPr>
          <p:cNvSpPr txBox="1">
            <a:spLocks/>
          </p:cNvSpPr>
          <p:nvPr/>
        </p:nvSpPr>
        <p:spPr>
          <a:xfrm>
            <a:off x="1226891" y="5019414"/>
            <a:ext cx="9890592" cy="5480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b="1" dirty="0">
              <a:solidFill>
                <a:schemeClr val="accent2"/>
              </a:solidFill>
            </a:endParaRPr>
          </a:p>
        </p:txBody>
      </p:sp>
      <p:pic>
        <p:nvPicPr>
          <p:cNvPr id="9" name="Picture 2" descr="The Agile Development Process for Mobile Apps | Krasamo">
            <a:extLst>
              <a:ext uri="{FF2B5EF4-FFF2-40B4-BE49-F238E27FC236}">
                <a16:creationId xmlns:a16="http://schemas.microsoft.com/office/drawing/2014/main" id="{19E9D315-059E-FBE8-9FA5-AC45D013F7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1" r="19980"/>
          <a:stretch>
            <a:fillRect/>
          </a:stretch>
        </p:blipFill>
        <p:spPr bwMode="auto">
          <a:xfrm>
            <a:off x="1426512" y="4052496"/>
            <a:ext cx="2458667" cy="22579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accent5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0DAD621F-5E80-6E20-A76B-D60E3817D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511" y="1421134"/>
            <a:ext cx="2458667" cy="23177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accent3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432A854B-008B-9994-CF8F-0A9633A7E86F}"/>
              </a:ext>
            </a:extLst>
          </p:cNvPr>
          <p:cNvGrpSpPr/>
          <p:nvPr/>
        </p:nvGrpSpPr>
        <p:grpSpPr>
          <a:xfrm>
            <a:off x="4744280" y="1807354"/>
            <a:ext cx="6766931" cy="4424500"/>
            <a:chOff x="5024646" y="1899714"/>
            <a:chExt cx="6766931" cy="44245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8A4E27C-3FC0-C9C8-3D38-24835D4F3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24646" y="1899714"/>
              <a:ext cx="6293306" cy="386300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chemeClr val="accent3">
                  <a:alpha val="65000"/>
                </a:schemeClr>
              </a:outerShdw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0265373-87B3-4BCD-481B-844A426916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820577" y="4066236"/>
              <a:ext cx="1971000" cy="22579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chemeClr val="accent3">
                  <a:alpha val="65000"/>
                </a:scheme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2897305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3E4D2E-E81B-2773-F950-371123D4A8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ACA8F37-D06B-F5B9-A89B-3D49FB2D25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0" r="34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FEC175C-431C-7EBC-19EB-A8879682FC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2066" y="6400799"/>
            <a:ext cx="4969934" cy="381001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mage source: https://www.lifeofsailing.com/blogs/articles/what-is-ship-wheel-call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66003D-B6A7-5B39-A5E5-3886B19A4A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3700" y="550001"/>
            <a:ext cx="11150600" cy="686132"/>
          </a:xfrm>
        </p:spPr>
        <p:txBody>
          <a:bodyPr/>
          <a:lstStyle/>
          <a:p>
            <a:r>
              <a:rPr lang="en-GB" sz="3600" b="1" i="1" dirty="0" err="1">
                <a:solidFill>
                  <a:schemeClr val="bg1"/>
                </a:solidFill>
              </a:rPr>
              <a:t>Accelerate</a:t>
            </a:r>
            <a:r>
              <a:rPr lang="en-GB" sz="3600" b="1" dirty="0" err="1">
                <a:solidFill>
                  <a:schemeClr val="bg1"/>
                </a:solidFill>
              </a:rPr>
              <a:t>R</a:t>
            </a:r>
            <a:br>
              <a:rPr lang="en-GB" sz="3600" b="1" dirty="0">
                <a:solidFill>
                  <a:schemeClr val="bg1"/>
                </a:solidFill>
              </a:rPr>
            </a:br>
            <a:r>
              <a:rPr lang="en-GB" sz="3600" b="1" dirty="0">
                <a:solidFill>
                  <a:schemeClr val="bg1"/>
                </a:solidFill>
              </a:rPr>
              <a:t>Adjusting course</a:t>
            </a:r>
          </a:p>
        </p:txBody>
      </p:sp>
    </p:spTree>
    <p:extLst>
      <p:ext uri="{BB962C8B-B14F-4D97-AF65-F5344CB8AC3E}">
        <p14:creationId xmlns:p14="http://schemas.microsoft.com/office/powerpoint/2010/main" val="2736638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04394E-B015-8CFD-6897-6582FC1DB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13AB07-631A-EDE7-2080-D9DC37A2DF8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July 202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E547BF-4799-464D-ACA0-E3BCCB6125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96C5CE6-09E8-F424-24D2-22754AD45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 the bleeding edge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AC3E134-17CE-044B-0848-B3B0BD33BB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DAC956F-9159-A4AE-91D4-79A1058453C4}"/>
              </a:ext>
            </a:extLst>
          </p:cNvPr>
          <p:cNvCxnSpPr>
            <a:cxnSpLocks/>
          </p:cNvCxnSpPr>
          <p:nvPr/>
        </p:nvCxnSpPr>
        <p:spPr>
          <a:xfrm>
            <a:off x="452761" y="3636827"/>
            <a:ext cx="10832527" cy="0"/>
          </a:xfrm>
          <a:prstGeom prst="straightConnector1">
            <a:avLst/>
          </a:prstGeom>
          <a:ln w="57150" cap="rnd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 descr="Snowflake with solid fill">
            <a:extLst>
              <a:ext uri="{FF2B5EF4-FFF2-40B4-BE49-F238E27FC236}">
                <a16:creationId xmlns:a16="http://schemas.microsoft.com/office/drawing/2014/main" id="{D479406E-A624-995E-86D6-11E5655E86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5125" y="2839781"/>
            <a:ext cx="1565926" cy="1565926"/>
          </a:xfrm>
          <a:prstGeom prst="rect">
            <a:avLst/>
          </a:prstGeom>
        </p:spPr>
      </p:pic>
      <p:pic>
        <p:nvPicPr>
          <p:cNvPr id="18" name="Graphic 17" descr="Snowflake with solid fill">
            <a:extLst>
              <a:ext uri="{FF2B5EF4-FFF2-40B4-BE49-F238E27FC236}">
                <a16:creationId xmlns:a16="http://schemas.microsoft.com/office/drawing/2014/main" id="{DED62902-8865-E5FB-FAAE-5BF69F6BA0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80215" y="2853864"/>
            <a:ext cx="1565926" cy="1565926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43177DA2-58D2-162C-384E-B653B673F2FF}"/>
              </a:ext>
            </a:extLst>
          </p:cNvPr>
          <p:cNvSpPr txBox="1"/>
          <p:nvPr/>
        </p:nvSpPr>
        <p:spPr>
          <a:xfrm>
            <a:off x="270016" y="4127820"/>
            <a:ext cx="2702089" cy="7746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800">
                <a:solidFill>
                  <a:schemeClr val="accent4"/>
                </a:solidFill>
              </a:rPr>
              <a:t>Current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800">
                <a:solidFill>
                  <a:schemeClr val="accent4"/>
                </a:solidFill>
              </a:rPr>
              <a:t>Frozen Environme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09B31B-764D-AE78-12A2-3C7F2CB64439}"/>
              </a:ext>
            </a:extLst>
          </p:cNvPr>
          <p:cNvSpPr txBox="1"/>
          <p:nvPr/>
        </p:nvSpPr>
        <p:spPr>
          <a:xfrm>
            <a:off x="8583199" y="4153423"/>
            <a:ext cx="2702089" cy="7746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800">
                <a:solidFill>
                  <a:schemeClr val="accent4"/>
                </a:solidFill>
              </a:rPr>
              <a:t>Futur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800">
                <a:solidFill>
                  <a:schemeClr val="accent4"/>
                </a:solidFill>
              </a:rPr>
              <a:t>Frozen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800">
                <a:solidFill>
                  <a:schemeClr val="accent4"/>
                </a:solidFill>
              </a:rPr>
              <a:t>Environment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B45591AC-D3BB-47B6-0F0D-910D06EA252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7365" y="1424317"/>
            <a:ext cx="914400" cy="1058130"/>
          </a:xfrm>
          <a:prstGeom prst="rect">
            <a:avLst/>
          </a:prstGeom>
        </p:spPr>
      </p:pic>
      <p:pic>
        <p:nvPicPr>
          <p:cNvPr id="63" name="Graphic 62" descr="Programmer male with solid fill">
            <a:extLst>
              <a:ext uri="{FF2B5EF4-FFF2-40B4-BE49-F238E27FC236}">
                <a16:creationId xmlns:a16="http://schemas.microsoft.com/office/drawing/2014/main" id="{3A78B0FE-64A9-ABB2-2992-F7AD9BE8B5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86847" y="2258663"/>
            <a:ext cx="914400" cy="914400"/>
          </a:xfrm>
          <a:prstGeom prst="rect">
            <a:avLst/>
          </a:prstGeom>
        </p:spPr>
      </p:pic>
      <p:pic>
        <p:nvPicPr>
          <p:cNvPr id="65" name="Graphic 64" descr="Programmer female with solid fill">
            <a:extLst>
              <a:ext uri="{FF2B5EF4-FFF2-40B4-BE49-F238E27FC236}">
                <a16:creationId xmlns:a16="http://schemas.microsoft.com/office/drawing/2014/main" id="{87528A04-703D-2BFC-DC5D-160A60ACED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27365" y="2469977"/>
            <a:ext cx="914400" cy="914400"/>
          </a:xfrm>
          <a:prstGeom prst="rect">
            <a:avLst/>
          </a:prstGeom>
        </p:spPr>
      </p:pic>
      <p:pic>
        <p:nvPicPr>
          <p:cNvPr id="66" name="Graphic 65" descr="Programmer female with solid fill">
            <a:extLst>
              <a:ext uri="{FF2B5EF4-FFF2-40B4-BE49-F238E27FC236}">
                <a16:creationId xmlns:a16="http://schemas.microsoft.com/office/drawing/2014/main" id="{B0ACE6E7-4234-8053-807C-8E67687C25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24381" y="2272110"/>
            <a:ext cx="914400" cy="914400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B2E3E64B-BC07-B364-6C71-2210630A5A20}"/>
              </a:ext>
            </a:extLst>
          </p:cNvPr>
          <p:cNvSpPr/>
          <p:nvPr/>
        </p:nvSpPr>
        <p:spPr bwMode="auto">
          <a:xfrm>
            <a:off x="3133995" y="3494759"/>
            <a:ext cx="274320" cy="27432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600" kern="0" err="1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F6E3DA-102C-8707-24D9-A422CE31256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403" y="5600462"/>
            <a:ext cx="1687165" cy="490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56293F-AD51-AC3F-7729-4BCD8443CEE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6561" y="5650681"/>
            <a:ext cx="885544" cy="102473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6F8D961-A794-13E4-594A-44E6A1B5C2FA}"/>
              </a:ext>
            </a:extLst>
          </p:cNvPr>
          <p:cNvGrpSpPr/>
          <p:nvPr/>
        </p:nvGrpSpPr>
        <p:grpSpPr>
          <a:xfrm>
            <a:off x="3871103" y="548666"/>
            <a:ext cx="1997921" cy="1529624"/>
            <a:chOff x="4098079" y="610236"/>
            <a:chExt cx="1997921" cy="1529624"/>
          </a:xfrm>
        </p:grpSpPr>
        <p:sp>
          <p:nvSpPr>
            <p:cNvPr id="13" name="Speech Bubble: Oval 12">
              <a:extLst>
                <a:ext uri="{FF2B5EF4-FFF2-40B4-BE49-F238E27FC236}">
                  <a16:creationId xmlns:a16="http://schemas.microsoft.com/office/drawing/2014/main" id="{585FBC8A-64AB-D753-10E4-725390CED9A1}"/>
                </a:ext>
              </a:extLst>
            </p:cNvPr>
            <p:cNvSpPr/>
            <p:nvPr/>
          </p:nvSpPr>
          <p:spPr bwMode="auto">
            <a:xfrm>
              <a:off x="4098079" y="610236"/>
              <a:ext cx="1997921" cy="1529624"/>
            </a:xfrm>
            <a:prstGeom prst="wedgeEllipseCallou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2">
                  <a:lumMod val="75000"/>
                </a:schemeClr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endParaRPr lang="en-US" sz="1600" kern="0" err="1">
                <a:solidFill>
                  <a:schemeClr val="tx1"/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FCC2836-4391-1A53-154A-3667485D06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45447" y="841579"/>
              <a:ext cx="940804" cy="1088683"/>
            </a:xfrm>
            <a:prstGeom prst="rect">
              <a:avLst/>
            </a:prstGeom>
          </p:spPr>
        </p:pic>
        <p:pic>
          <p:nvPicPr>
            <p:cNvPr id="16" name="Graphic 15" descr="Question Mark with solid fill">
              <a:extLst>
                <a:ext uri="{FF2B5EF4-FFF2-40B4-BE49-F238E27FC236}">
                  <a16:creationId xmlns:a16="http://schemas.microsoft.com/office/drawing/2014/main" id="{D2C1B23E-443E-D9CF-58DE-67BF65A0D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259831" y="985876"/>
              <a:ext cx="794029" cy="794029"/>
            </a:xfrm>
            <a:prstGeom prst="rect">
              <a:avLst/>
            </a:prstGeom>
          </p:spPr>
        </p:pic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EFEE22B4-7EC3-7B47-5E3D-E923A9B85D61}"/>
              </a:ext>
            </a:extLst>
          </p:cNvPr>
          <p:cNvSpPr/>
          <p:nvPr/>
        </p:nvSpPr>
        <p:spPr bwMode="auto">
          <a:xfrm>
            <a:off x="3133995" y="3494759"/>
            <a:ext cx="274320" cy="27432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600" kern="0" err="1">
              <a:solidFill>
                <a:schemeClr val="tx1"/>
              </a:solidFill>
            </a:endParaRPr>
          </a:p>
        </p:txBody>
      </p:sp>
      <p:pic>
        <p:nvPicPr>
          <p:cNvPr id="14" name="Picture 13" descr="A cartoon penguin holding a cup&#10;&#10;Description automatically generated">
            <a:extLst>
              <a:ext uri="{FF2B5EF4-FFF2-40B4-BE49-F238E27FC236}">
                <a16:creationId xmlns:a16="http://schemas.microsoft.com/office/drawing/2014/main" id="{5031D6FB-3563-8538-FFA3-D856BB9D4FE3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9494" y="3860519"/>
            <a:ext cx="1713302" cy="11906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20A02B5C-E483-FDD2-638E-7A0C274CEB32}"/>
              </a:ext>
            </a:extLst>
          </p:cNvPr>
          <p:cNvSpPr/>
          <p:nvPr/>
        </p:nvSpPr>
        <p:spPr bwMode="auto">
          <a:xfrm>
            <a:off x="5754519" y="3487768"/>
            <a:ext cx="274320" cy="27432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600" kern="0" err="1">
              <a:solidFill>
                <a:schemeClr val="tx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70F2D8D-E0D7-193A-07B4-A7D5CF371CC7}"/>
              </a:ext>
            </a:extLst>
          </p:cNvPr>
          <p:cNvCxnSpPr>
            <a:cxnSpLocks/>
          </p:cNvCxnSpPr>
          <p:nvPr/>
        </p:nvCxnSpPr>
        <p:spPr>
          <a:xfrm flipV="1">
            <a:off x="3399926" y="3636827"/>
            <a:ext cx="1126354" cy="11870"/>
          </a:xfrm>
          <a:prstGeom prst="line">
            <a:avLst/>
          </a:prstGeom>
          <a:ln w="762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BA72BE8-8D85-4C43-ABF4-6BAE5CA2498C}"/>
              </a:ext>
            </a:extLst>
          </p:cNvPr>
          <p:cNvCxnSpPr>
            <a:cxnSpLocks/>
          </p:cNvCxnSpPr>
          <p:nvPr/>
        </p:nvCxnSpPr>
        <p:spPr>
          <a:xfrm>
            <a:off x="4659674" y="3632562"/>
            <a:ext cx="1094845" cy="0"/>
          </a:xfrm>
          <a:prstGeom prst="line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9D3FAC6-1774-D229-C14D-F638A21DD275}"/>
              </a:ext>
            </a:extLst>
          </p:cNvPr>
          <p:cNvCxnSpPr>
            <a:cxnSpLocks/>
          </p:cNvCxnSpPr>
          <p:nvPr/>
        </p:nvCxnSpPr>
        <p:spPr>
          <a:xfrm flipV="1">
            <a:off x="6019695" y="3627683"/>
            <a:ext cx="1304649" cy="6389"/>
          </a:xfrm>
          <a:prstGeom prst="line">
            <a:avLst/>
          </a:prstGeom>
          <a:ln w="762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86FD7BC-117F-AE4D-8DF0-46FB6084842D}"/>
              </a:ext>
            </a:extLst>
          </p:cNvPr>
          <p:cNvSpPr txBox="1"/>
          <p:nvPr/>
        </p:nvSpPr>
        <p:spPr>
          <a:xfrm>
            <a:off x="4028120" y="3837840"/>
            <a:ext cx="988787" cy="3653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600">
                <a:solidFill>
                  <a:schemeClr val="accent4"/>
                </a:solidFill>
              </a:rPr>
              <a:t>Upd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3932C-C76F-6DDA-287D-0400154659AC}"/>
              </a:ext>
            </a:extLst>
          </p:cNvPr>
          <p:cNvSpPr txBox="1"/>
          <p:nvPr/>
        </p:nvSpPr>
        <p:spPr>
          <a:xfrm>
            <a:off x="5415311" y="3850080"/>
            <a:ext cx="988787" cy="3653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600">
                <a:solidFill>
                  <a:schemeClr val="accent4"/>
                </a:solidFill>
              </a:rPr>
              <a:t>Upd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E733FD7-9254-AD81-5E7D-175A3E64B2B0}"/>
              </a:ext>
            </a:extLst>
          </p:cNvPr>
          <p:cNvSpPr txBox="1"/>
          <p:nvPr/>
        </p:nvSpPr>
        <p:spPr>
          <a:xfrm>
            <a:off x="6793273" y="3820048"/>
            <a:ext cx="1036661" cy="104962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600">
                <a:solidFill>
                  <a:schemeClr val="accent4"/>
                </a:solidFill>
              </a:rPr>
              <a:t>Update to </a:t>
            </a:r>
            <a:r>
              <a:rPr lang="en-US" sz="1600" err="1">
                <a:solidFill>
                  <a:schemeClr val="accent4"/>
                </a:solidFill>
              </a:rPr>
              <a:t>upcomingsnapshot</a:t>
            </a:r>
            <a:endParaRPr lang="en-US" sz="1600">
              <a:solidFill>
                <a:schemeClr val="accent4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D717D74-9811-3D6A-316D-BF40F2C8EC3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9592" y="144914"/>
            <a:ext cx="4654596" cy="2855091"/>
          </a:xfrm>
          <a:prstGeom prst="rect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</a:ln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96AA2FB-00CD-F748-005E-3D261349C948}"/>
              </a:ext>
            </a:extLst>
          </p:cNvPr>
          <p:cNvCxnSpPr>
            <a:cxnSpLocks/>
          </p:cNvCxnSpPr>
          <p:nvPr/>
        </p:nvCxnSpPr>
        <p:spPr>
          <a:xfrm flipV="1">
            <a:off x="4685832" y="2917700"/>
            <a:ext cx="1401807" cy="588753"/>
          </a:xfrm>
          <a:prstGeom prst="line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17CEEADD-DB6E-501E-331D-1DE9C64CB761}"/>
              </a:ext>
            </a:extLst>
          </p:cNvPr>
          <p:cNvSpPr/>
          <p:nvPr/>
        </p:nvSpPr>
        <p:spPr bwMode="auto">
          <a:xfrm>
            <a:off x="7206854" y="3476165"/>
            <a:ext cx="274320" cy="27432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600" kern="0" err="1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44FC285-02E6-81AF-F137-75D2F41BEC5A}"/>
              </a:ext>
            </a:extLst>
          </p:cNvPr>
          <p:cNvSpPr/>
          <p:nvPr/>
        </p:nvSpPr>
        <p:spPr bwMode="auto">
          <a:xfrm>
            <a:off x="4385354" y="3487768"/>
            <a:ext cx="274320" cy="27432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600" kern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336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  <p:bldP spid="67" grpId="0" animBg="1"/>
      <p:bldP spid="11" grpId="0" animBg="1"/>
      <p:bldP spid="15" grpId="0" animBg="1"/>
      <p:bldP spid="22" grpId="0"/>
      <p:bldP spid="23" grpId="0"/>
      <p:bldP spid="24" grpId="0"/>
      <p:bldP spid="27" grpId="0" animBg="1"/>
      <p:bldP spid="2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D2C8A0-E627-F12F-A966-470135D44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lorful wave at ocean">
            <a:extLst>
              <a:ext uri="{FF2B5EF4-FFF2-40B4-BE49-F238E27FC236}">
                <a16:creationId xmlns:a16="http://schemas.microsoft.com/office/drawing/2014/main" id="{03E1E86C-D10D-7430-71D3-001CD42526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2CDCAD-3DDC-A311-6E2B-421202F231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92" y="160992"/>
            <a:ext cx="11150600" cy="548009"/>
          </a:xfrm>
        </p:spPr>
        <p:txBody>
          <a:bodyPr/>
          <a:lstStyle/>
          <a:p>
            <a:r>
              <a:rPr lang="en-GB" b="1" dirty="0">
                <a:solidFill>
                  <a:schemeClr val="bg1"/>
                </a:solidFill>
              </a:rPr>
              <a:t>Wave 3: Mass User Support</a:t>
            </a:r>
          </a:p>
        </p:txBody>
      </p:sp>
    </p:spTree>
    <p:extLst>
      <p:ext uri="{BB962C8B-B14F-4D97-AF65-F5344CB8AC3E}">
        <p14:creationId xmlns:p14="http://schemas.microsoft.com/office/powerpoint/2010/main" val="41225184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725C99-7628-BEEF-B19B-9445D72BFE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38" y="6404920"/>
            <a:ext cx="8209326" cy="29880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dirty="0"/>
              <a:t>Image sources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dirty="0"/>
              <a:t>Left: </a:t>
            </a:r>
            <a:r>
              <a:rPr lang="en-GB" dirty="0">
                <a:hlinkClick r:id="rId3"/>
              </a:rPr>
              <a:t>https://commons.wikimedia.org/wiki/File:Titanic_Dock,_Belfast_27.6.2013_CNV00012_%2810430813006%29.jpg</a:t>
            </a:r>
            <a:endParaRPr lang="en-GB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dirty="0"/>
              <a:t>Right: Image source: https://www.netflix.com/gb/title/70100379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F8EF69-EAB0-C8C0-DA01-6D084D8FD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ing “</a:t>
            </a:r>
            <a:r>
              <a:rPr lang="en-GB" dirty="0" err="1"/>
              <a:t>STARburst</a:t>
            </a:r>
            <a:r>
              <a:rPr lang="en-GB" dirty="0"/>
              <a:t>”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6E7BA90-FE75-8A71-B574-E5DDCE2D8B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wo simple changes…</a:t>
            </a:r>
          </a:p>
        </p:txBody>
      </p:sp>
      <p:pic>
        <p:nvPicPr>
          <p:cNvPr id="7" name="Picture 2" descr="Watch Yes Man | Netflix">
            <a:extLst>
              <a:ext uri="{FF2B5EF4-FFF2-40B4-BE49-F238E27FC236}">
                <a16:creationId xmlns:a16="http://schemas.microsoft.com/office/drawing/2014/main" id="{99719E96-50A7-1F97-4386-96D3901927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8" r="11668"/>
          <a:stretch>
            <a:fillRect/>
          </a:stretch>
        </p:blipFill>
        <p:spPr bwMode="auto">
          <a:xfrm>
            <a:off x="6488696" y="2004103"/>
            <a:ext cx="4881950" cy="3259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C71679AB-06B3-23E3-353D-F56B56289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8038" y="2004103"/>
            <a:ext cx="4868580" cy="3259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2DB298D-BE77-3046-63BB-DCDDB94C6F29}"/>
              </a:ext>
            </a:extLst>
          </p:cNvPr>
          <p:cNvSpPr txBox="1">
            <a:spLocks/>
          </p:cNvSpPr>
          <p:nvPr/>
        </p:nvSpPr>
        <p:spPr>
          <a:xfrm>
            <a:off x="828038" y="6098916"/>
            <a:ext cx="5527582" cy="24274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67E412-B1AA-7CF8-95C8-C94735D4B863}"/>
              </a:ext>
            </a:extLst>
          </p:cNvPr>
          <p:cNvSpPr txBox="1"/>
          <p:nvPr/>
        </p:nvSpPr>
        <p:spPr>
          <a:xfrm>
            <a:off x="828038" y="1512498"/>
            <a:ext cx="3749713" cy="3702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2000" b="1" dirty="0"/>
              <a:t>1. Stop building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20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4BB827-54D2-7032-C5D4-6B3403699631}"/>
              </a:ext>
            </a:extLst>
          </p:cNvPr>
          <p:cNvSpPr txBox="1"/>
          <p:nvPr/>
        </p:nvSpPr>
        <p:spPr>
          <a:xfrm>
            <a:off x="6488696" y="1516350"/>
            <a:ext cx="3749713" cy="3702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2000" b="1" dirty="0"/>
              <a:t>2. Say Yes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1169543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10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7BD70F-1A2A-0B38-4192-A2782A94DD0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3 July 2025</a:t>
            </a:fld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1BDDEE-B4AB-19DC-830B-DD08DC0D40A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FE97E7-91A9-51D6-081D-ECE07077A0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1002" y="1402254"/>
            <a:ext cx="4394578" cy="33601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58 support requests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64 blog posts (posted daily)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en-US" dirty="0"/>
              <a:t>Topics driven by the pipeline, featuring case studies and tricks/tips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en-US" dirty="0"/>
              <a:t>821 unique viewers (~90% returning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582AD59-CB02-C478-F3FB-B0739C586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err="1"/>
              <a:t>STARburst</a:t>
            </a:r>
            <a:r>
              <a:rPr lang="en-US" b="0" dirty="0"/>
              <a:t> Impac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7C83D64C-8D83-2BF2-2B8D-FB6AC01694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C146DC-7AE5-74CB-033F-39AC66A6FA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2" b="6327"/>
          <a:stretch>
            <a:fillRect/>
          </a:stretch>
        </p:blipFill>
        <p:spPr>
          <a:xfrm>
            <a:off x="5785448" y="1402254"/>
            <a:ext cx="6039840" cy="31581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F36EB80-1E3F-6E85-25B2-208C91CE628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6455"/>
          <a:stretch>
            <a:fillRect/>
          </a:stretch>
        </p:blipFill>
        <p:spPr>
          <a:xfrm>
            <a:off x="4707864" y="3320417"/>
            <a:ext cx="5872578" cy="31581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0E1B0B0-BEDE-6421-69BF-8BC2EBEA21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9110" y="1906999"/>
            <a:ext cx="2258335" cy="1272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0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5E2E8B59-AB99-4F55-1CA3-D818BB9DA10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4846" r="24846"/>
          <a:stretch>
            <a:fillRect/>
          </a:stretch>
        </p:blipFill>
        <p:spPr>
          <a:xfrm>
            <a:off x="417413" y="1300200"/>
            <a:ext cx="3541249" cy="4641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75827F-526F-3F7B-7284-E59A5DBF5A99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F31F32-11F0-8C86-F898-D55C4BCA8A8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04D849-D665-64DB-2ADF-F529B2A302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GB" dirty="0"/>
              <a:t>Image source: </a:t>
            </a:r>
            <a:r>
              <a:rPr lang="en-GB" dirty="0">
                <a:hlinkClick r:id="rId4"/>
              </a:rPr>
              <a:t>https://how-to-propose.com/en/column/article_4206/</a:t>
            </a:r>
            <a:r>
              <a:rPr lang="en-GB" dirty="0"/>
              <a:t>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BA3DF92-022C-8BDE-D972-E38D83BB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king Commitments, August 2023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B17B5584-26A7-2E14-191C-4C0D8FCB70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iostatistics’ commitments to open sourc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C1DD7287-F229-37A5-6CAB-894375298FFD}"/>
              </a:ext>
            </a:extLst>
          </p:cNvPr>
          <p:cNvSpPr txBox="1">
            <a:spLocks/>
          </p:cNvSpPr>
          <p:nvPr/>
        </p:nvSpPr>
        <p:spPr>
          <a:xfrm>
            <a:off x="5214418" y="1419147"/>
            <a:ext cx="4888906" cy="15937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/>
              <a:t>All central tools to be built using open-source languages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4155561A-0A49-F53A-D352-007E373188D9}"/>
              </a:ext>
            </a:extLst>
          </p:cNvPr>
          <p:cNvSpPr txBox="1">
            <a:spLocks/>
          </p:cNvSpPr>
          <p:nvPr/>
        </p:nvSpPr>
        <p:spPr>
          <a:xfrm>
            <a:off x="5214418" y="3791472"/>
            <a:ext cx="5169751" cy="15937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/>
              <a:t>50% of our code to be open-source by end 2025</a:t>
            </a:r>
          </a:p>
        </p:txBody>
      </p:sp>
    </p:spTree>
    <p:extLst>
      <p:ext uri="{BB962C8B-B14F-4D97-AF65-F5344CB8AC3E}">
        <p14:creationId xmlns:p14="http://schemas.microsoft.com/office/powerpoint/2010/main" val="665038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View of sea at dusk">
            <a:extLst>
              <a:ext uri="{FF2B5EF4-FFF2-40B4-BE49-F238E27FC236}">
                <a16:creationId xmlns:a16="http://schemas.microsoft.com/office/drawing/2014/main" id="{E3645C9B-64BC-D876-F18D-3290EFF44A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94" b="1875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FD3F46E3-D8A1-3E9C-11A7-A1529A428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25" y="-133933"/>
            <a:ext cx="11460163" cy="1260000"/>
          </a:xfrm>
        </p:spPr>
        <p:txBody>
          <a:bodyPr/>
          <a:lstStyle/>
          <a:p>
            <a:r>
              <a:rPr lang="en-GB" b="1" dirty="0">
                <a:solidFill>
                  <a:schemeClr val="bg1"/>
                </a:solidFill>
              </a:rPr>
              <a:t>Looking ahead…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F87ABE-AC2C-3DEE-2AAD-C7D9CECB028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43650"/>
            <a:ext cx="2774950" cy="269875"/>
          </a:xfrm>
        </p:spPr>
        <p:txBody>
          <a:bodyPr/>
          <a:lstStyle/>
          <a:p>
            <a:fld id="{397F4CD0-83C1-4C99-A2BD-6DA4A1CC9D00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40F7A9-141A-F91F-A543-A223233E9B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43650"/>
            <a:ext cx="539750" cy="269875"/>
          </a:xfrm>
        </p:spPr>
        <p:txBody>
          <a:bodyPr/>
          <a:lstStyle/>
          <a:p>
            <a:fld id="{9F9F533D-B52E-4A2F-BF72-0ADD2D94BD75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47381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3F06EE-6824-9FAD-455B-AF4804956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1645BF2-69CF-9BC3-8E59-722FF21285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" b="6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A1E8048-A478-0404-17C8-4D9A5E2CF3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9029" y="288314"/>
            <a:ext cx="11150600" cy="548009"/>
          </a:xfrm>
        </p:spPr>
        <p:txBody>
          <a:bodyPr/>
          <a:lstStyle/>
          <a:p>
            <a:r>
              <a:rPr lang="en-GB" b="1" dirty="0"/>
              <a:t>Conclus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6E770C-B871-40CF-3DA7-51BE023C41CA}"/>
              </a:ext>
            </a:extLst>
          </p:cNvPr>
          <p:cNvSpPr txBox="1"/>
          <p:nvPr/>
        </p:nvSpPr>
        <p:spPr>
          <a:xfrm>
            <a:off x="6424914" y="6569686"/>
            <a:ext cx="576708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50" dirty="0"/>
              <a:t>Image source: http://clustercrush.com/breaking-bottles-champagne-and-ship-christenings/</a:t>
            </a:r>
          </a:p>
        </p:txBody>
      </p:sp>
    </p:spTree>
    <p:extLst>
      <p:ext uri="{BB962C8B-B14F-4D97-AF65-F5344CB8AC3E}">
        <p14:creationId xmlns:p14="http://schemas.microsoft.com/office/powerpoint/2010/main" val="3344047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3E64AF-18E9-4739-A2AA-ABE5265C02F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01589" y="1248384"/>
            <a:ext cx="2746375" cy="797875"/>
          </a:xfrm>
        </p:spPr>
        <p:txBody>
          <a:bodyPr/>
          <a:lstStyle/>
          <a:p>
            <a:r>
              <a:rPr lang="en-GB" dirty="0"/>
              <a:t>Mass training will only get you so fa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83F4BDF-A201-CE25-40A2-789997365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D35D567-D0B1-7A65-FEFF-D651AAD9E0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BBE4E-D30B-501A-0F88-DA81080F88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342432" y="1303338"/>
            <a:ext cx="3919959" cy="22049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7E695B-FDCE-F182-623D-95ACC0791D6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54818" y="2226845"/>
            <a:ext cx="3919959" cy="22049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088DF8D-F907-1294-83E7-11D4C33B9E09}"/>
              </a:ext>
            </a:extLst>
          </p:cNvPr>
          <p:cNvSpPr txBox="1">
            <a:spLocks/>
          </p:cNvSpPr>
          <p:nvPr/>
        </p:nvSpPr>
        <p:spPr>
          <a:xfrm>
            <a:off x="6140671" y="2158781"/>
            <a:ext cx="2746374" cy="79787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Focus on early adopter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E38931C-C5DA-B073-F51B-05A7C3DFB797}"/>
              </a:ext>
            </a:extLst>
          </p:cNvPr>
          <p:cNvSpPr txBox="1">
            <a:spLocks/>
          </p:cNvSpPr>
          <p:nvPr/>
        </p:nvSpPr>
        <p:spPr>
          <a:xfrm>
            <a:off x="7779751" y="3081008"/>
            <a:ext cx="3105125" cy="80388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Be prepared to change/adjust cours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2C511CF-E654-332F-EC34-90C5ACEB9EBD}"/>
              </a:ext>
            </a:extLst>
          </p:cNvPr>
          <p:cNvSpPr txBox="1">
            <a:spLocks/>
          </p:cNvSpPr>
          <p:nvPr/>
        </p:nvSpPr>
        <p:spPr>
          <a:xfrm>
            <a:off x="9371904" y="4009245"/>
            <a:ext cx="2699446" cy="80388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46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940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931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922" indent="-359991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Listen to your users!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F49FA39-55AA-FBFC-5522-5B00265878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67204" y="3150352"/>
            <a:ext cx="3919959" cy="22049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0DA103D-65D2-70FC-F0D6-41ED5BBE28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92220" y="4073860"/>
            <a:ext cx="3894701" cy="22049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36626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2" grpId="0"/>
      <p:bldP spid="13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1470C-9D13-31B8-5E5F-BF6E0C9FF4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lorful wave at ocean">
            <a:extLst>
              <a:ext uri="{FF2B5EF4-FFF2-40B4-BE49-F238E27FC236}">
                <a16:creationId xmlns:a16="http://schemas.microsoft.com/office/drawing/2014/main" id="{35B036A7-8F73-5957-00A5-47AF14B051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5A85BC5-6CC8-637D-04C0-7F9F2F451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92" y="160992"/>
            <a:ext cx="11150600" cy="548009"/>
          </a:xfrm>
        </p:spPr>
        <p:txBody>
          <a:bodyPr/>
          <a:lstStyle/>
          <a:p>
            <a:r>
              <a:rPr lang="en-GB" b="1" dirty="0">
                <a:solidFill>
                  <a:schemeClr val="bg1"/>
                </a:solidFill>
              </a:rPr>
              <a:t>Making waves</a:t>
            </a:r>
          </a:p>
        </p:txBody>
      </p:sp>
    </p:spTree>
    <p:extLst>
      <p:ext uri="{BB962C8B-B14F-4D97-AF65-F5344CB8AC3E}">
        <p14:creationId xmlns:p14="http://schemas.microsoft.com/office/powerpoint/2010/main" val="2289243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DD4D42-236B-491B-79C0-C3008709E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Wave 51">
            <a:extLst>
              <a:ext uri="{FF2B5EF4-FFF2-40B4-BE49-F238E27FC236}">
                <a16:creationId xmlns:a16="http://schemas.microsoft.com/office/drawing/2014/main" id="{F81DE635-388D-2143-B472-C84B29008AF7}"/>
              </a:ext>
            </a:extLst>
          </p:cNvPr>
          <p:cNvSpPr/>
          <p:nvPr/>
        </p:nvSpPr>
        <p:spPr bwMode="auto">
          <a:xfrm rot="16200000">
            <a:off x="3904753" y="2354844"/>
            <a:ext cx="3947183" cy="2819745"/>
          </a:xfrm>
          <a:prstGeom prst="wav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  <p:sp>
        <p:nvSpPr>
          <p:cNvPr id="55" name="Wave 54">
            <a:extLst>
              <a:ext uri="{FF2B5EF4-FFF2-40B4-BE49-F238E27FC236}">
                <a16:creationId xmlns:a16="http://schemas.microsoft.com/office/drawing/2014/main" id="{928B35FB-9B5D-3163-203A-8E6B548CAC74}"/>
              </a:ext>
            </a:extLst>
          </p:cNvPr>
          <p:cNvSpPr/>
          <p:nvPr/>
        </p:nvSpPr>
        <p:spPr bwMode="auto">
          <a:xfrm rot="16200000">
            <a:off x="8509195" y="2358288"/>
            <a:ext cx="3947183" cy="2819745"/>
          </a:xfrm>
          <a:prstGeom prst="wav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7200" kern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54" name="Wave 53">
            <a:extLst>
              <a:ext uri="{FF2B5EF4-FFF2-40B4-BE49-F238E27FC236}">
                <a16:creationId xmlns:a16="http://schemas.microsoft.com/office/drawing/2014/main" id="{ACC9D19C-F024-7630-153B-536EA8F3C1C5}"/>
              </a:ext>
            </a:extLst>
          </p:cNvPr>
          <p:cNvSpPr/>
          <p:nvPr/>
        </p:nvSpPr>
        <p:spPr bwMode="auto">
          <a:xfrm rot="16200000">
            <a:off x="6556160" y="2358288"/>
            <a:ext cx="3947183" cy="2819745"/>
          </a:xfrm>
          <a:prstGeom prst="wav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  <p:sp>
        <p:nvSpPr>
          <p:cNvPr id="53" name="Wave 52">
            <a:extLst>
              <a:ext uri="{FF2B5EF4-FFF2-40B4-BE49-F238E27FC236}">
                <a16:creationId xmlns:a16="http://schemas.microsoft.com/office/drawing/2014/main" id="{4CE28609-796F-E676-41D3-90B8F098C209}"/>
              </a:ext>
            </a:extLst>
          </p:cNvPr>
          <p:cNvSpPr/>
          <p:nvPr/>
        </p:nvSpPr>
        <p:spPr bwMode="auto">
          <a:xfrm rot="16200000">
            <a:off x="5968439" y="2355214"/>
            <a:ext cx="3947183" cy="2819745"/>
          </a:xfrm>
          <a:prstGeom prst="wav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  <p:sp>
        <p:nvSpPr>
          <p:cNvPr id="40" name="Wave 39">
            <a:extLst>
              <a:ext uri="{FF2B5EF4-FFF2-40B4-BE49-F238E27FC236}">
                <a16:creationId xmlns:a16="http://schemas.microsoft.com/office/drawing/2014/main" id="{801E4288-33E7-3BB6-266C-2CD3829A2377}"/>
              </a:ext>
            </a:extLst>
          </p:cNvPr>
          <p:cNvSpPr/>
          <p:nvPr/>
        </p:nvSpPr>
        <p:spPr bwMode="auto">
          <a:xfrm rot="16200000">
            <a:off x="103808" y="2351345"/>
            <a:ext cx="3947183" cy="2819745"/>
          </a:xfrm>
          <a:prstGeom prst="wave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  <p:sp>
        <p:nvSpPr>
          <p:cNvPr id="51" name="Wave 50">
            <a:extLst>
              <a:ext uri="{FF2B5EF4-FFF2-40B4-BE49-F238E27FC236}">
                <a16:creationId xmlns:a16="http://schemas.microsoft.com/office/drawing/2014/main" id="{3518C8E0-DEBF-7DA1-988F-85F6EDF3F0D1}"/>
              </a:ext>
            </a:extLst>
          </p:cNvPr>
          <p:cNvSpPr/>
          <p:nvPr/>
        </p:nvSpPr>
        <p:spPr bwMode="auto">
          <a:xfrm rot="16200000">
            <a:off x="1955302" y="2352873"/>
            <a:ext cx="3947183" cy="2819745"/>
          </a:xfrm>
          <a:prstGeom prst="wav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BBEC646-44DE-FEDC-410B-C99A5AB83E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E0ADF3-B5FC-6F6A-86A4-4C920AED4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SK’s Open-source Journey</a:t>
            </a:r>
          </a:p>
        </p:txBody>
      </p:sp>
      <p:sp>
        <p:nvSpPr>
          <p:cNvPr id="32" name="Subtitle 31">
            <a:extLst>
              <a:ext uri="{FF2B5EF4-FFF2-40B4-BE49-F238E27FC236}">
                <a16:creationId xmlns:a16="http://schemas.microsoft.com/office/drawing/2014/main" id="{EDBD2DC1-3820-8383-677C-7A93BF9E05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Adoption Wav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B707F9A-27F0-8C25-8057-AC759BFEE30D}"/>
              </a:ext>
            </a:extLst>
          </p:cNvPr>
          <p:cNvGrpSpPr/>
          <p:nvPr/>
        </p:nvGrpSpPr>
        <p:grpSpPr>
          <a:xfrm>
            <a:off x="365125" y="1874354"/>
            <a:ext cx="9530580" cy="4419122"/>
            <a:chOff x="600800" y="1054399"/>
            <a:chExt cx="11591200" cy="527358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6FBBAB5-D3D2-CDBE-38D6-4D472F2A9FC8}"/>
                </a:ext>
              </a:extLst>
            </p:cNvPr>
            <p:cNvSpPr txBox="1"/>
            <p:nvPr/>
          </p:nvSpPr>
          <p:spPr>
            <a:xfrm>
              <a:off x="5577208" y="3525177"/>
              <a:ext cx="2638127" cy="496843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/>
                <a:t>First pilot study QC in R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200E943-EE01-5D54-588E-754129E72CD8}"/>
                </a:ext>
              </a:extLst>
            </p:cNvPr>
            <p:cNvSpPr txBox="1"/>
            <p:nvPr/>
          </p:nvSpPr>
          <p:spPr>
            <a:xfrm>
              <a:off x="8121179" y="3525177"/>
              <a:ext cx="2927241" cy="496843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/>
                <a:t>Full pilot study in R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6A41303-29EA-B54B-88E3-37E78C2B7F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38959" y="5528889"/>
              <a:ext cx="7913041" cy="24526"/>
            </a:xfrm>
            <a:prstGeom prst="line">
              <a:avLst/>
            </a:prstGeom>
            <a:ln w="1905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68B9CFB-5459-C833-E32D-8BD3ABB0FA86}"/>
                </a:ext>
              </a:extLst>
            </p:cNvPr>
            <p:cNvSpPr txBox="1"/>
            <p:nvPr/>
          </p:nvSpPr>
          <p:spPr>
            <a:xfrm>
              <a:off x="3238615" y="5682693"/>
              <a:ext cx="1000688" cy="645288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rm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2000" b="1"/>
                <a:t>2017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DE5FE96-9743-6979-9A82-495089DA6E60}"/>
                </a:ext>
              </a:extLst>
            </p:cNvPr>
            <p:cNvSpPr txBox="1"/>
            <p:nvPr/>
          </p:nvSpPr>
          <p:spPr>
            <a:xfrm>
              <a:off x="11191312" y="5672634"/>
              <a:ext cx="1000688" cy="645288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rm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2000" b="1"/>
                <a:t>202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9AB8E2B-833B-1E61-4CFF-F6A323859A70}"/>
                </a:ext>
              </a:extLst>
            </p:cNvPr>
            <p:cNvSpPr txBox="1"/>
            <p:nvPr/>
          </p:nvSpPr>
          <p:spPr>
            <a:xfrm>
              <a:off x="1275315" y="3016426"/>
              <a:ext cx="2104851" cy="78421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 b="1" i="1" dirty="0"/>
                <a:t>Period of the ad-hoc R cours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EA70762-E2DE-2BFD-7057-DDE195AC10BA}"/>
                </a:ext>
              </a:extLst>
            </p:cNvPr>
            <p:cNvSpPr txBox="1"/>
            <p:nvPr/>
          </p:nvSpPr>
          <p:spPr>
            <a:xfrm>
              <a:off x="9095870" y="2676115"/>
              <a:ext cx="2495328" cy="50278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 b="1" i="1" dirty="0" err="1"/>
                <a:t>AccelerateR</a:t>
              </a:r>
              <a:endParaRPr lang="en-GB" sz="1600" b="1" i="1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4AA0ED8-37A4-27EB-739A-A499C660E959}"/>
                </a:ext>
              </a:extLst>
            </p:cNvPr>
            <p:cNvSpPr txBox="1"/>
            <p:nvPr/>
          </p:nvSpPr>
          <p:spPr>
            <a:xfrm>
              <a:off x="4052456" y="2574606"/>
              <a:ext cx="4483734" cy="604293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 b="1" dirty="0"/>
                <a:t>80% staff trained in </a:t>
              </a:r>
              <a:r>
                <a:rPr lang="en-GB" sz="1600" b="1" dirty="0" err="1"/>
                <a:t>Tidyverse</a:t>
              </a:r>
              <a:endParaRPr lang="en-GB" sz="1600" b="1" i="1" dirty="0"/>
            </a:p>
          </p:txBody>
        </p:sp>
        <p:sp>
          <p:nvSpPr>
            <p:cNvPr id="2" name="Arrow: Right 1">
              <a:extLst>
                <a:ext uri="{FF2B5EF4-FFF2-40B4-BE49-F238E27FC236}">
                  <a16:creationId xmlns:a16="http://schemas.microsoft.com/office/drawing/2014/main" id="{3344AF7E-CEBC-1B28-BC8C-A3763DB86BD5}"/>
                </a:ext>
              </a:extLst>
            </p:cNvPr>
            <p:cNvSpPr/>
            <p:nvPr/>
          </p:nvSpPr>
          <p:spPr bwMode="auto">
            <a:xfrm>
              <a:off x="3703014" y="3122714"/>
              <a:ext cx="4836864" cy="442778"/>
            </a:xfrm>
            <a:prstGeom prst="rightArrow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dirty="0">
                <a:solidFill>
                  <a:schemeClr val="tx1"/>
                </a:solidFill>
              </a:endParaRPr>
            </a:p>
          </p:txBody>
        </p:sp>
        <p:sp>
          <p:nvSpPr>
            <p:cNvPr id="3" name="Arrow: Right 2">
              <a:extLst>
                <a:ext uri="{FF2B5EF4-FFF2-40B4-BE49-F238E27FC236}">
                  <a16:creationId xmlns:a16="http://schemas.microsoft.com/office/drawing/2014/main" id="{23E962A2-A49C-9D45-90C8-19D1CB786604}"/>
                </a:ext>
              </a:extLst>
            </p:cNvPr>
            <p:cNvSpPr/>
            <p:nvPr/>
          </p:nvSpPr>
          <p:spPr bwMode="auto">
            <a:xfrm>
              <a:off x="6096000" y="3933891"/>
              <a:ext cx="2119335" cy="442778"/>
            </a:xfrm>
            <a:prstGeom prst="rightArrow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r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03F81A9B-5E86-BE40-59E7-587F31A626EC}"/>
                </a:ext>
              </a:extLst>
            </p:cNvPr>
            <p:cNvSpPr/>
            <p:nvPr/>
          </p:nvSpPr>
          <p:spPr bwMode="auto">
            <a:xfrm>
              <a:off x="8570742" y="3126269"/>
              <a:ext cx="3079864" cy="442778"/>
            </a:xfrm>
            <a:prstGeom prst="rightArrow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2593DD0A-CA54-632F-94F3-D79DD5BA07D0}"/>
                </a:ext>
              </a:extLst>
            </p:cNvPr>
            <p:cNvSpPr/>
            <p:nvPr/>
          </p:nvSpPr>
          <p:spPr bwMode="auto">
            <a:xfrm>
              <a:off x="8553465" y="3933891"/>
              <a:ext cx="2494150" cy="442778"/>
            </a:xfrm>
            <a:prstGeom prst="rightArrow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r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pic>
          <p:nvPicPr>
            <p:cNvPr id="36" name="Graphic 35" descr="Graduation cap with solid fill">
              <a:extLst>
                <a:ext uri="{FF2B5EF4-FFF2-40B4-BE49-F238E27FC236}">
                  <a16:creationId xmlns:a16="http://schemas.microsoft.com/office/drawing/2014/main" id="{F0D2C453-F43C-2219-3F70-0059FC8AF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0800" y="3001918"/>
              <a:ext cx="739678" cy="739678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96C99157-A3FD-3D3F-48FC-17C2B8C7AD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8097" y="3870982"/>
              <a:ext cx="647218" cy="568596"/>
            </a:xfrm>
            <a:prstGeom prst="rect">
              <a:avLst/>
            </a:prstGeom>
          </p:spPr>
        </p:pic>
        <p:pic>
          <p:nvPicPr>
            <p:cNvPr id="46" name="Graphic 45" descr="Mining tools with solid fill">
              <a:extLst>
                <a:ext uri="{FF2B5EF4-FFF2-40B4-BE49-F238E27FC236}">
                  <a16:creationId xmlns:a16="http://schemas.microsoft.com/office/drawing/2014/main" id="{8F37315B-BC33-5F11-8C8E-B6162F702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8396" y="4660722"/>
              <a:ext cx="647218" cy="647218"/>
            </a:xfrm>
            <a:prstGeom prst="rect">
              <a:avLst/>
            </a:prstGeom>
          </p:spPr>
        </p:pic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454B7137-778A-569A-18C5-FEC39D48BE1A}"/>
                </a:ext>
              </a:extLst>
            </p:cNvPr>
            <p:cNvSpPr/>
            <p:nvPr/>
          </p:nvSpPr>
          <p:spPr bwMode="auto">
            <a:xfrm>
              <a:off x="11082166" y="3933891"/>
              <a:ext cx="568440" cy="442778"/>
            </a:xfrm>
            <a:prstGeom prst="rightArrow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r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2EBB57A-A768-BE0B-35A1-88EC5F5EE315}"/>
                </a:ext>
              </a:extLst>
            </p:cNvPr>
            <p:cNvSpPr txBox="1"/>
            <p:nvPr/>
          </p:nvSpPr>
          <p:spPr>
            <a:xfrm>
              <a:off x="3219946" y="1054399"/>
              <a:ext cx="2418675" cy="4537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/>
                <a:t>R Platform V1.0</a:t>
              </a:r>
              <a:endParaRPr lang="en-GB" sz="1600" i="1"/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D4C4D71D-75D2-25F5-0903-A739AD2F7FAD}"/>
                </a:ext>
              </a:extLst>
            </p:cNvPr>
            <p:cNvSpPr/>
            <p:nvPr/>
          </p:nvSpPr>
          <p:spPr bwMode="auto">
            <a:xfrm>
              <a:off x="4475987" y="1450300"/>
              <a:ext cx="1162634" cy="442778"/>
            </a:xfrm>
            <a:prstGeom prst="rightArrow">
              <a:avLst/>
            </a:prstGeom>
            <a:solidFill>
              <a:schemeClr val="accent2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5D766A3-329C-B606-DF18-799002AF2815}"/>
                </a:ext>
              </a:extLst>
            </p:cNvPr>
            <p:cNvSpPr txBox="1"/>
            <p:nvPr/>
          </p:nvSpPr>
          <p:spPr>
            <a:xfrm>
              <a:off x="9659349" y="1871747"/>
              <a:ext cx="1017867" cy="4537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/>
                <a:t>R4GxP</a:t>
              </a:r>
              <a:endParaRPr lang="en-GB" sz="1600" i="1"/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FE588E59-2F86-9239-EAED-0E69AC32BA63}"/>
                </a:ext>
              </a:extLst>
            </p:cNvPr>
            <p:cNvSpPr/>
            <p:nvPr/>
          </p:nvSpPr>
          <p:spPr bwMode="auto">
            <a:xfrm>
              <a:off x="6113276" y="2270458"/>
              <a:ext cx="4529662" cy="442778"/>
            </a:xfrm>
            <a:prstGeom prst="rightArrow">
              <a:avLst/>
            </a:prstGeom>
            <a:solidFill>
              <a:schemeClr val="bg2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sp>
          <p:nvSpPr>
            <p:cNvPr id="27" name="Arrow: Right 26">
              <a:extLst>
                <a:ext uri="{FF2B5EF4-FFF2-40B4-BE49-F238E27FC236}">
                  <a16:creationId xmlns:a16="http://schemas.microsoft.com/office/drawing/2014/main" id="{A546093C-E3F4-DB3F-BC7F-776FAB56F665}"/>
                </a:ext>
              </a:extLst>
            </p:cNvPr>
            <p:cNvSpPr/>
            <p:nvPr/>
          </p:nvSpPr>
          <p:spPr bwMode="auto">
            <a:xfrm>
              <a:off x="5655898" y="1460550"/>
              <a:ext cx="5994708" cy="442778"/>
            </a:xfrm>
            <a:prstGeom prst="rightArrow">
              <a:avLst/>
            </a:prstGeom>
            <a:solidFill>
              <a:schemeClr val="accent2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pic>
          <p:nvPicPr>
            <p:cNvPr id="28" name="Graphic 27" descr="Gears with solid fill">
              <a:extLst>
                <a:ext uri="{FF2B5EF4-FFF2-40B4-BE49-F238E27FC236}">
                  <a16:creationId xmlns:a16="http://schemas.microsoft.com/office/drawing/2014/main" id="{C73F62C9-48F3-7FE1-6A64-BB4338A01D5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18076" y="1312032"/>
              <a:ext cx="739678" cy="739678"/>
            </a:xfrm>
            <a:prstGeom prst="rect">
              <a:avLst/>
            </a:prstGeom>
          </p:spPr>
        </p:pic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8932E06A-C09F-089D-24EE-F565A927C7DB}"/>
                </a:ext>
              </a:extLst>
            </p:cNvPr>
            <p:cNvSpPr/>
            <p:nvPr/>
          </p:nvSpPr>
          <p:spPr bwMode="auto">
            <a:xfrm>
              <a:off x="10642938" y="2251840"/>
              <a:ext cx="1007668" cy="442778"/>
            </a:xfrm>
            <a:prstGeom prst="rightArrow">
              <a:avLst/>
            </a:prstGeom>
            <a:solidFill>
              <a:schemeClr val="bg2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eaLnBrk="0" fontAlgn="auto" hangingPunct="0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</a:pPr>
              <a:endParaRPr lang="en-GB" sz="1200" kern="0" err="1">
                <a:solidFill>
                  <a:schemeClr val="tx1"/>
                </a:solidFill>
              </a:endParaRPr>
            </a:p>
          </p:txBody>
        </p:sp>
        <p:pic>
          <p:nvPicPr>
            <p:cNvPr id="31" name="Graphic 30" descr="Workflow with solid fill">
              <a:extLst>
                <a:ext uri="{FF2B5EF4-FFF2-40B4-BE49-F238E27FC236}">
                  <a16:creationId xmlns:a16="http://schemas.microsoft.com/office/drawing/2014/main" id="{73993658-E2D5-05C1-18CD-307572F085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18076" y="2122008"/>
              <a:ext cx="739678" cy="739678"/>
            </a:xfrm>
            <a:prstGeom prst="rect">
              <a:avLst/>
            </a:prstGeom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589729D-476D-8D74-A0DC-460B75C84A03}"/>
                </a:ext>
              </a:extLst>
            </p:cNvPr>
            <p:cNvGrpSpPr/>
            <p:nvPr/>
          </p:nvGrpSpPr>
          <p:grpSpPr>
            <a:xfrm>
              <a:off x="5021476" y="4762942"/>
              <a:ext cx="6629130" cy="442778"/>
              <a:chOff x="3513608" y="6282222"/>
              <a:chExt cx="6629130" cy="442778"/>
            </a:xfrm>
          </p:grpSpPr>
          <p:sp>
            <p:nvSpPr>
              <p:cNvPr id="9" name="Arrow: Right 8">
                <a:extLst>
                  <a:ext uri="{FF2B5EF4-FFF2-40B4-BE49-F238E27FC236}">
                    <a16:creationId xmlns:a16="http://schemas.microsoft.com/office/drawing/2014/main" id="{04BA0EE1-930B-A340-A817-C7990D60E3D8}"/>
                  </a:ext>
                </a:extLst>
              </p:cNvPr>
              <p:cNvSpPr/>
              <p:nvPr/>
            </p:nvSpPr>
            <p:spPr bwMode="auto">
              <a:xfrm>
                <a:off x="3513608" y="6282222"/>
                <a:ext cx="946022" cy="442778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2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Arrow: Right 14">
                <a:extLst>
                  <a:ext uri="{FF2B5EF4-FFF2-40B4-BE49-F238E27FC236}">
                    <a16:creationId xmlns:a16="http://schemas.microsoft.com/office/drawing/2014/main" id="{64D7F96A-8C9C-9FB9-7478-097F26D2B789}"/>
                  </a:ext>
                </a:extLst>
              </p:cNvPr>
              <p:cNvSpPr/>
              <p:nvPr/>
            </p:nvSpPr>
            <p:spPr bwMode="auto">
              <a:xfrm>
                <a:off x="4460793" y="6282222"/>
                <a:ext cx="946022" cy="442778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2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row: Right 16">
                <a:extLst>
                  <a:ext uri="{FF2B5EF4-FFF2-40B4-BE49-F238E27FC236}">
                    <a16:creationId xmlns:a16="http://schemas.microsoft.com/office/drawing/2014/main" id="{6201BACA-6FA8-7D97-2FF1-F9C1EA58E5AA}"/>
                  </a:ext>
                </a:extLst>
              </p:cNvPr>
              <p:cNvSpPr/>
              <p:nvPr/>
            </p:nvSpPr>
            <p:spPr bwMode="auto">
              <a:xfrm>
                <a:off x="5407978" y="6282222"/>
                <a:ext cx="946022" cy="442778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2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row: Right 18">
                <a:extLst>
                  <a:ext uri="{FF2B5EF4-FFF2-40B4-BE49-F238E27FC236}">
                    <a16:creationId xmlns:a16="http://schemas.microsoft.com/office/drawing/2014/main" id="{5383104B-53DA-9C90-F49F-A1A545A72EBD}"/>
                  </a:ext>
                </a:extLst>
              </p:cNvPr>
              <p:cNvSpPr/>
              <p:nvPr/>
            </p:nvSpPr>
            <p:spPr bwMode="auto">
              <a:xfrm>
                <a:off x="6355163" y="6282222"/>
                <a:ext cx="946022" cy="442778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2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row: Right 19">
                <a:extLst>
                  <a:ext uri="{FF2B5EF4-FFF2-40B4-BE49-F238E27FC236}">
                    <a16:creationId xmlns:a16="http://schemas.microsoft.com/office/drawing/2014/main" id="{24D47CCB-B329-FA32-83FD-2A43FE91B309}"/>
                  </a:ext>
                </a:extLst>
              </p:cNvPr>
              <p:cNvSpPr/>
              <p:nvPr/>
            </p:nvSpPr>
            <p:spPr bwMode="auto">
              <a:xfrm>
                <a:off x="7302348" y="6282222"/>
                <a:ext cx="946022" cy="442778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2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row: Right 20">
                <a:extLst>
                  <a:ext uri="{FF2B5EF4-FFF2-40B4-BE49-F238E27FC236}">
                    <a16:creationId xmlns:a16="http://schemas.microsoft.com/office/drawing/2014/main" id="{2C5FB03C-D772-16E6-3447-DD6C48D7E12F}"/>
                  </a:ext>
                </a:extLst>
              </p:cNvPr>
              <p:cNvSpPr/>
              <p:nvPr/>
            </p:nvSpPr>
            <p:spPr bwMode="auto">
              <a:xfrm>
                <a:off x="8249533" y="6282222"/>
                <a:ext cx="946022" cy="442778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2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Arrow: Right 32">
                <a:extLst>
                  <a:ext uri="{FF2B5EF4-FFF2-40B4-BE49-F238E27FC236}">
                    <a16:creationId xmlns:a16="http://schemas.microsoft.com/office/drawing/2014/main" id="{5C4F24C3-F22F-07DE-0A66-2C43131D7B96}"/>
                  </a:ext>
                </a:extLst>
              </p:cNvPr>
              <p:cNvSpPr/>
              <p:nvPr/>
            </p:nvSpPr>
            <p:spPr bwMode="auto">
              <a:xfrm>
                <a:off x="9196716" y="6282222"/>
                <a:ext cx="946022" cy="442778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200" kern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79B6D6C-FF69-C875-6AE6-612BAA72EADD}"/>
                </a:ext>
              </a:extLst>
            </p:cNvPr>
            <p:cNvSpPr txBox="1"/>
            <p:nvPr/>
          </p:nvSpPr>
          <p:spPr>
            <a:xfrm>
              <a:off x="3514272" y="4381051"/>
              <a:ext cx="2418675" cy="4537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/>
                <a:t>Supporting tools</a:t>
              </a:r>
              <a:endParaRPr lang="en-GB" sz="1600" i="1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469F57-CBFB-00CB-B200-32C972980BD2}"/>
                </a:ext>
              </a:extLst>
            </p:cNvPr>
            <p:cNvSpPr txBox="1"/>
            <p:nvPr/>
          </p:nvSpPr>
          <p:spPr>
            <a:xfrm>
              <a:off x="7218262" y="4381051"/>
              <a:ext cx="1578308" cy="4537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 i="1"/>
                <a:t>…and again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9ADE65C-0B6C-5FAB-6DC9-4D3B860201F6}"/>
                </a:ext>
              </a:extLst>
            </p:cNvPr>
            <p:cNvSpPr txBox="1"/>
            <p:nvPr/>
          </p:nvSpPr>
          <p:spPr>
            <a:xfrm>
              <a:off x="10073289" y="4381051"/>
              <a:ext cx="1578308" cy="4537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b">
              <a:noAutofit/>
            </a:bodyPr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10000"/>
              </a:pPr>
              <a:r>
                <a:rPr lang="en-GB" sz="1600" i="1"/>
                <a:t>…and again</a:t>
              </a: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FE622042-3CEB-5FF2-8A28-86857E27DB2D}"/>
              </a:ext>
            </a:extLst>
          </p:cNvPr>
          <p:cNvSpPr txBox="1"/>
          <p:nvPr/>
        </p:nvSpPr>
        <p:spPr>
          <a:xfrm>
            <a:off x="1520087" y="1444307"/>
            <a:ext cx="799548" cy="26504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1600" dirty="0"/>
              <a:t>Wave 0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53FC23-1EE0-223B-E28C-C3829E6B0270}"/>
              </a:ext>
            </a:extLst>
          </p:cNvPr>
          <p:cNvSpPr txBox="1"/>
          <p:nvPr/>
        </p:nvSpPr>
        <p:spPr>
          <a:xfrm>
            <a:off x="4646711" y="1439420"/>
            <a:ext cx="799548" cy="26504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1600" dirty="0"/>
              <a:t>Wave 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D4233A2-DB52-526A-3435-0E5FF37AB4D8}"/>
              </a:ext>
            </a:extLst>
          </p:cNvPr>
          <p:cNvSpPr txBox="1"/>
          <p:nvPr/>
        </p:nvSpPr>
        <p:spPr>
          <a:xfrm>
            <a:off x="7790670" y="1445487"/>
            <a:ext cx="799548" cy="26504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1600" dirty="0"/>
              <a:t>Wave 2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E217EF3-B1A6-19E9-062D-472744C6943B}"/>
              </a:ext>
            </a:extLst>
          </p:cNvPr>
          <p:cNvSpPr txBox="1"/>
          <p:nvPr/>
        </p:nvSpPr>
        <p:spPr>
          <a:xfrm>
            <a:off x="10288828" y="1436475"/>
            <a:ext cx="799548" cy="26504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GB" sz="1600" dirty="0"/>
              <a:t>Wave 3</a:t>
            </a:r>
          </a:p>
        </p:txBody>
      </p:sp>
    </p:spTree>
    <p:extLst>
      <p:ext uri="{BB962C8B-B14F-4D97-AF65-F5344CB8AC3E}">
        <p14:creationId xmlns:p14="http://schemas.microsoft.com/office/powerpoint/2010/main" val="325900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5" grpId="0" animBg="1"/>
      <p:bldP spid="54" grpId="0" animBg="1"/>
      <p:bldP spid="53" grpId="0" animBg="1"/>
      <p:bldP spid="40" grpId="0" animBg="1"/>
      <p:bldP spid="51" grpId="0" animBg="1"/>
      <p:bldP spid="45" grpId="0"/>
      <p:bldP spid="47" grpId="0"/>
      <p:bldP spid="48" grpId="0"/>
      <p:bldP spid="4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lorful wave at ocean">
            <a:extLst>
              <a:ext uri="{FF2B5EF4-FFF2-40B4-BE49-F238E27FC236}">
                <a16:creationId xmlns:a16="http://schemas.microsoft.com/office/drawing/2014/main" id="{57CAA848-43E0-13DF-5394-A0F8CC2C71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D2089E3-BAE5-0ECA-1BD4-0741359FA5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92" y="160992"/>
            <a:ext cx="11150600" cy="548009"/>
          </a:xfrm>
        </p:spPr>
        <p:txBody>
          <a:bodyPr/>
          <a:lstStyle/>
          <a:p>
            <a:r>
              <a:rPr lang="en-GB" b="1" dirty="0">
                <a:solidFill>
                  <a:schemeClr val="bg1"/>
                </a:solidFill>
              </a:rPr>
              <a:t>Wave 1: Mass Training</a:t>
            </a:r>
          </a:p>
        </p:txBody>
      </p:sp>
    </p:spTree>
    <p:extLst>
      <p:ext uri="{BB962C8B-B14F-4D97-AF65-F5344CB8AC3E}">
        <p14:creationId xmlns:p14="http://schemas.microsoft.com/office/powerpoint/2010/main" val="1202417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291239-42B9-84B9-B20A-29EC9918B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125" y="1311161"/>
            <a:ext cx="5597525" cy="478007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re courses: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en-GB" dirty="0"/>
              <a:t>Introduction to R and the </a:t>
            </a:r>
            <a:r>
              <a:rPr lang="en-GB" dirty="0" err="1"/>
              <a:t>Tidyverse</a:t>
            </a:r>
            <a:endParaRPr lang="en-GB" dirty="0"/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en-GB" dirty="0"/>
              <a:t>Graphics with ggplot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stly F2F, moving to virtual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urse written in </a:t>
            </a:r>
            <a:r>
              <a:rPr lang="en-GB" dirty="0" err="1"/>
              <a:t>bookdown</a:t>
            </a:r>
            <a:r>
              <a:rPr lang="en-GB" dirty="0"/>
              <a:t> (now quarto) to double-up as written reference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en-GB" dirty="0"/>
              <a:t>No slides!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ccessfully hit 80% course completion target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DED25C-7EB7-6C26-7F25-23530DB973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E25727-0666-90ED-0E49-F9B69B926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bjective: 80% Coverage of Workforce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9CD0E96-D16F-9B29-3308-75B939036DF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B989A5-F392-8CAC-0239-F4CBC52BEBD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5116"/>
          <a:stretch>
            <a:fillRect/>
          </a:stretch>
        </p:blipFill>
        <p:spPr>
          <a:xfrm>
            <a:off x="6133537" y="1311163"/>
            <a:ext cx="5691751" cy="47800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24254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DFA0A7-0C82-7785-3607-1DC32D9327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405AF1-C6AA-6E77-4A48-7F15F1282F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136B8A-E059-F54C-918B-50224EDFA5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92" y="160992"/>
            <a:ext cx="11150600" cy="548009"/>
          </a:xfrm>
        </p:spPr>
        <p:txBody>
          <a:bodyPr/>
          <a:lstStyle/>
          <a:p>
            <a:r>
              <a:rPr lang="en-GB" b="1" i="1" dirty="0">
                <a:solidFill>
                  <a:schemeClr val="accent2"/>
                </a:solidFill>
              </a:rPr>
              <a:t>“Can we have some advanced training please?”</a:t>
            </a:r>
          </a:p>
        </p:txBody>
      </p:sp>
    </p:spTree>
    <p:extLst>
      <p:ext uri="{BB962C8B-B14F-4D97-AF65-F5344CB8AC3E}">
        <p14:creationId xmlns:p14="http://schemas.microsoft.com/office/powerpoint/2010/main" val="41939613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B5CDFF3-C0A9-A9E3-4CBF-47D15090A0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EF1A24B-0AEB-E4A1-815C-30B886D419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1B8CB92-4988-21DF-00AF-8001FBF125DD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DB8E8A9-1D90-8450-D300-864E132DF1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3090B8-F49D-D7D2-20D5-D2E20B8CE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i="1" dirty="0">
                <a:solidFill>
                  <a:schemeClr val="accent2"/>
                </a:solidFill>
              </a:rPr>
              <a:t>“Can we have some advanced training please?”</a:t>
            </a:r>
            <a:endParaRPr lang="en-GB" sz="3600" b="1" dirty="0">
              <a:solidFill>
                <a:schemeClr val="accent2"/>
              </a:solidFill>
            </a:endParaRP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6085B0A6-334F-9CD7-ABF7-F38B32B728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5513" y="3973124"/>
            <a:ext cx="2638505" cy="352800"/>
          </a:xfrm>
        </p:spPr>
        <p:txBody>
          <a:bodyPr/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Change</a:t>
            </a:r>
          </a:p>
          <a:p>
            <a:pPr algn="ctr"/>
            <a:r>
              <a:rPr lang="en-GB" b="1" dirty="0">
                <a:solidFill>
                  <a:schemeClr val="accent3"/>
                </a:solidFill>
              </a:rPr>
              <a:t>Challenge</a:t>
            </a:r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8C804AC-822A-2B51-4102-DF9AF214C10D}"/>
              </a:ext>
            </a:extLst>
          </p:cNvPr>
          <p:cNvSpPr txBox="1">
            <a:spLocks/>
          </p:cNvSpPr>
          <p:nvPr/>
        </p:nvSpPr>
        <p:spPr>
          <a:xfrm>
            <a:off x="1226891" y="5019414"/>
            <a:ext cx="9890592" cy="5480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b="1" dirty="0">
              <a:solidFill>
                <a:schemeClr val="accent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B10ED7-69BD-D542-26F1-89F3BC581E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52131" y="1142471"/>
            <a:ext cx="6608715" cy="53335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1A23BBD-66D0-EA7E-B207-761F927375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733" y="1562132"/>
            <a:ext cx="2786780" cy="4117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Arrow: Right 13">
            <a:extLst>
              <a:ext uri="{FF2B5EF4-FFF2-40B4-BE49-F238E27FC236}">
                <a16:creationId xmlns:a16="http://schemas.microsoft.com/office/drawing/2014/main" id="{EC1C7DB1-E47C-46E9-0D10-F0674CFE7D36}"/>
              </a:ext>
            </a:extLst>
          </p:cNvPr>
          <p:cNvSpPr/>
          <p:nvPr/>
        </p:nvSpPr>
        <p:spPr bwMode="auto">
          <a:xfrm>
            <a:off x="3854370" y="3119377"/>
            <a:ext cx="1481559" cy="839165"/>
          </a:xfrm>
          <a:prstGeom prst="rightArrow">
            <a:avLst/>
          </a:prstGeom>
          <a:solidFill>
            <a:schemeClr val="accent3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60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uiExpand="1" build="p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32BE886E-4D16-F19D-A133-5A4F9122B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81" b="5081"/>
          <a:stretch/>
        </p:blipFill>
        <p:spPr bwMode="auto">
          <a:xfrm>
            <a:off x="4309459" y="1302287"/>
            <a:ext cx="7515829" cy="44901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9DAF52-DC05-8F06-5B52-8A96E01BC1F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125" y="1311162"/>
            <a:ext cx="3639716" cy="44848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ceded some ground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en-GB" dirty="0"/>
              <a:t>Created a self-certify option in our training system</a:t>
            </a:r>
          </a:p>
          <a:p>
            <a:pPr marL="700442" lvl="1" indent="-342900">
              <a:buFont typeface="Arial" panose="020B0604020202020204" pitchFamily="34" charset="0"/>
              <a:buChar char="•"/>
            </a:pPr>
            <a:r>
              <a:rPr lang="en-GB" dirty="0"/>
              <a:t>Developed a new “intermediate” function-writing cour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Built a resource Hub to point to useful external resour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1C16D2-1F7D-1DF3-6867-A55092BF60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09459" y="5792438"/>
            <a:ext cx="7515829" cy="298800"/>
          </a:xfrm>
        </p:spPr>
        <p:txBody>
          <a:bodyPr/>
          <a:lstStyle/>
          <a:p>
            <a:r>
              <a:rPr lang="en-GB" dirty="0"/>
              <a:t>Image source: </a:t>
            </a:r>
            <a:r>
              <a:rPr lang="en-US" dirty="0"/>
              <a:t>https://www.rawpixel.com/search/oil%20tanker?page=1&amp;path=1522&amp;sort=curated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10091A-6765-87E3-4E27-F8A580F23CD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July 2025</a:t>
            </a:fld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9E616-A070-DBFA-D11A-D6FA56E69E0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3DF9463-A9E3-F215-4057-131253922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anging Mindse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EBFECAA-36E6-8A7F-3BDC-041ABD4525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urning the tanker around…</a:t>
            </a:r>
          </a:p>
        </p:txBody>
      </p:sp>
    </p:spTree>
    <p:extLst>
      <p:ext uri="{BB962C8B-B14F-4D97-AF65-F5344CB8AC3E}">
        <p14:creationId xmlns:p14="http://schemas.microsoft.com/office/powerpoint/2010/main" val="3900469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GSK " val="DqY5De45"/>
  <p:tag name="THINKCELLUNDODONOTDELETE" val="0"/>
  <p:tag name="ARTICULATE_PROJECT_OPEN" val="0"/>
  <p:tag name="ARTICULATE_SLIDE_COUNT" val="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rgbClr val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959595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defRPr sz="1600" dirty="0" err="1" smtClean="0"/>
        </a:defPPr>
      </a:lstStyle>
    </a:txDef>
  </a:objectDefaults>
  <a:extraClrSchemeLst/>
  <a:custClrLst>
    <a:custClr name="Custom Color 1">
      <a:srgbClr val="6658A6"/>
    </a:custClr>
    <a:custClr name="Custom Color 2">
      <a:srgbClr val="E21860"/>
    </a:custClr>
    <a:custClr name="Custom Color 3">
      <a:srgbClr val="69B445"/>
    </a:custClr>
    <a:custClr name="Custom Color 4">
      <a:srgbClr val="244EA2"/>
    </a:custClr>
    <a:custClr name="Custom Color 5">
      <a:srgbClr val="FFC709"/>
    </a:custClr>
    <a:custClr name="Custom Color 6">
      <a:srgbClr val="DC4133"/>
    </a:custClr>
    <a:custClr name="Custom Color 7">
      <a:srgbClr val="00B8AD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522E91"/>
    </a:custClr>
    <a:custClr name="Custom Color 12">
      <a:srgbClr val="862045"/>
    </a:custClr>
    <a:custClr name="Custom Color 13">
      <a:srgbClr val="436632"/>
    </a:custClr>
    <a:custClr name="Custom Color 14">
      <a:srgbClr val="263970"/>
    </a:custClr>
    <a:custClr name="Custom Color 15">
      <a:srgbClr val="C1A42B"/>
    </a:custClr>
    <a:custClr name="Custom Color 16">
      <a:srgbClr val="983728"/>
    </a:custClr>
    <a:custClr name="Custom Color 17">
      <a:srgbClr val="02736E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AB95C7"/>
    </a:custClr>
    <a:custClr name="Custom Color 22">
      <a:srgbClr val="CA8E9E"/>
    </a:custClr>
    <a:custClr name="Custom Color 23">
      <a:srgbClr val="85A977"/>
    </a:custClr>
    <a:custClr name="Custom Color 24">
      <a:srgbClr val="6F8CC7"/>
    </a:custClr>
    <a:custClr name="Custom Color 25">
      <a:srgbClr val="E2CC8F"/>
    </a:custClr>
    <a:custClr name="Custom Color 26">
      <a:srgbClr val="D6A197"/>
    </a:custClr>
    <a:custClr name="Custom Color 27">
      <a:srgbClr val="72ABA3"/>
    </a:custClr>
  </a:custClrLst>
  <a:extLst>
    <a:ext uri="{05A4C25C-085E-4340-85A3-A5531E510DB2}">
      <thm15:themeFamily xmlns:thm15="http://schemas.microsoft.com/office/thememl/2012/main" name="EXTERNAL USE - GSK PowerPoint Artkit with GSK Precision Font.pptx  -  Read-Only" id="{632A8727-7603-4205-82C7-0B673D6AB8A9}" vid="{FF048DE8-3C79-468A-95D4-C7E32A151A48}"/>
    </a:ext>
  </a:extLst>
</a:theme>
</file>

<file path=ppt/theme/theme2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 Custom Font">
      <a:majorFont>
        <a:latin typeface="GSK Precision Light"/>
        <a:ea typeface="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GSK Precision Light"/>
        <a:ea typeface="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8832E117A8CE43A8A235B54C54E8D6" ma:contentTypeVersion="10" ma:contentTypeDescription="Create a new document." ma:contentTypeScope="" ma:versionID="c6dd423e51cf840cbec45d605f8b6345">
  <xsd:schema xmlns:xsd="http://www.w3.org/2001/XMLSchema" xmlns:xs="http://www.w3.org/2001/XMLSchema" xmlns:p="http://schemas.microsoft.com/office/2006/metadata/properties" xmlns:ns2="30dbe7aa-a11d-4043-b406-ad97eb481d01" targetNamespace="http://schemas.microsoft.com/office/2006/metadata/properties" ma:root="true" ma:fieldsID="47767115c9b60be0de557ebf094bef2a" ns2:_="">
    <xsd:import namespace="30dbe7aa-a11d-4043-b406-ad97eb481d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dbe7aa-a11d-4043-b406-ad97eb481d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FC8329-C6F9-417B-AFDE-5E22243E6E66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a5bf85ab-5b89-45d5-812d-d881043611a5"/>
    <ds:schemaRef ds:uri="731989eb-7121-409c-871c-8f2366272918"/>
  </ds:schemaRefs>
</ds:datastoreItem>
</file>

<file path=customXml/itemProps2.xml><?xml version="1.0" encoding="utf-8"?>
<ds:datastoreItem xmlns:ds="http://schemas.openxmlformats.org/officeDocument/2006/customXml" ds:itemID="{F2B16CF9-AA48-4064-8290-940AEC3F75D0}"/>
</file>

<file path=customXml/itemProps3.xml><?xml version="1.0" encoding="utf-8"?>
<ds:datastoreItem xmlns:ds="http://schemas.openxmlformats.org/officeDocument/2006/customXml" ds:itemID="{611B79B3-E15B-458F-91DF-7EEDA242F08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ea66b2b-af80-48b6-873b-d341d3035cfa}" enabled="1" method="Standard" siteId="{63982aff-fb6c-4c22-973b-70e4acfb63e6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NTERNAL USE - GSK PowerPoint Artkit with GSK Precision Font 4.0</Template>
  <TotalTime>2586</TotalTime>
  <Words>1290</Words>
  <Application>Microsoft Office PowerPoint</Application>
  <PresentationFormat>Widescreen</PresentationFormat>
  <Paragraphs>207</Paragraphs>
  <Slides>22</Slides>
  <Notes>22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GSK Precision Light</vt:lpstr>
      <vt:lpstr>GSK </vt:lpstr>
      <vt:lpstr>think-cell Slide</vt:lpstr>
      <vt:lpstr>From Training to Practice: A shift to Just in Time User Support</vt:lpstr>
      <vt:lpstr>Making Commitments, August 2023</vt:lpstr>
      <vt:lpstr>Making waves</vt:lpstr>
      <vt:lpstr>GSK’s Open-source Journey</vt:lpstr>
      <vt:lpstr>Wave 1: Mass Training</vt:lpstr>
      <vt:lpstr>Objective: 80% Coverage of Workforce</vt:lpstr>
      <vt:lpstr>“Can we have some advanced training please?”</vt:lpstr>
      <vt:lpstr>“Can we have some advanced training please?”</vt:lpstr>
      <vt:lpstr>Changing Mindset</vt:lpstr>
      <vt:lpstr>Wave 2: Acceleration</vt:lpstr>
      <vt:lpstr>Supporting the Early Adopters</vt:lpstr>
      <vt:lpstr>“AccelerateR”</vt:lpstr>
      <vt:lpstr>Everything changes.  Always.</vt:lpstr>
      <vt:lpstr>Everything changes.  Always.</vt:lpstr>
      <vt:lpstr>AccelerateR Adjusting course</vt:lpstr>
      <vt:lpstr>On the bleeding edge</vt:lpstr>
      <vt:lpstr>Wave 3: Mass User Support</vt:lpstr>
      <vt:lpstr>Introducing “STARburst”</vt:lpstr>
      <vt:lpstr>STARburst Impact</vt:lpstr>
      <vt:lpstr>Looking ahead…</vt:lpstr>
      <vt:lpstr>Conclusions</vt:lpstr>
      <vt:lpstr>Conclu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dy Nicholls</dc:creator>
  <cp:lastModifiedBy>Andy Nicholls</cp:lastModifiedBy>
  <cp:revision>2</cp:revision>
  <dcterms:created xsi:type="dcterms:W3CDTF">2025-05-22T14:08:40Z</dcterms:created>
  <dcterms:modified xsi:type="dcterms:W3CDTF">2025-07-03T08:3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8832E117A8CE43A8A235B54C54E8D6</vt:lpwstr>
  </property>
  <property fmtid="{D5CDD505-2E9C-101B-9397-08002B2CF9AE}" pid="3" name="MediaServiceImageTags">
    <vt:lpwstr/>
  </property>
  <property fmtid="{D5CDD505-2E9C-101B-9397-08002B2CF9AE}" pid="4" name="ArticulateGUID">
    <vt:lpwstr>15CDE283-B26F-4D28-871F-EAED173C219D</vt:lpwstr>
  </property>
  <property fmtid="{D5CDD505-2E9C-101B-9397-08002B2CF9AE}" pid="5" name="ArticulatePath">
    <vt:lpwstr>Presentation1</vt:lpwstr>
  </property>
  <property fmtid="{D5CDD505-2E9C-101B-9397-08002B2CF9AE}" pid="6" name="MSIP_Label_bea66b2b-af80-48b6-873b-d341d3035cfa_Enabled">
    <vt:lpwstr>true</vt:lpwstr>
  </property>
  <property fmtid="{D5CDD505-2E9C-101B-9397-08002B2CF9AE}" pid="7" name="MSIP_Label_bea66b2b-af80-48b6-873b-d341d3035cfa_SetDate">
    <vt:lpwstr>2024-03-07T15:44:19Z</vt:lpwstr>
  </property>
  <property fmtid="{D5CDD505-2E9C-101B-9397-08002B2CF9AE}" pid="8" name="MSIP_Label_bea66b2b-af80-48b6-873b-d341d3035cfa_Method">
    <vt:lpwstr>Standard</vt:lpwstr>
  </property>
  <property fmtid="{D5CDD505-2E9C-101B-9397-08002B2CF9AE}" pid="9" name="MSIP_Label_bea66b2b-af80-48b6-873b-d341d3035cfa_Name">
    <vt:lpwstr>Proprietary</vt:lpwstr>
  </property>
  <property fmtid="{D5CDD505-2E9C-101B-9397-08002B2CF9AE}" pid="10" name="MSIP_Label_bea66b2b-af80-48b6-873b-d341d3035cfa_SiteId">
    <vt:lpwstr>63982aff-fb6c-4c22-973b-70e4acfb63e6</vt:lpwstr>
  </property>
  <property fmtid="{D5CDD505-2E9C-101B-9397-08002B2CF9AE}" pid="11" name="MSIP_Label_bea66b2b-af80-48b6-873b-d341d3035cfa_ActionId">
    <vt:lpwstr>d722ce65-6b2d-434b-a785-7c51babf0e9b</vt:lpwstr>
  </property>
  <property fmtid="{D5CDD505-2E9C-101B-9397-08002B2CF9AE}" pid="12" name="MSIP_Label_bea66b2b-af80-48b6-873b-d341d3035cfa_ContentBits">
    <vt:lpwstr>0</vt:lpwstr>
  </property>
</Properties>
</file>